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7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14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648" r:id="rId1"/>
  </p:sldMasterIdLst>
  <p:notesMasterIdLst>
    <p:notesMasterId r:id="rId22"/>
  </p:notesMasterIdLst>
  <p:sldIdLst>
    <p:sldId id="1722" r:id="rId2"/>
    <p:sldId id="1731" r:id="rId3"/>
    <p:sldId id="1635" r:id="rId4"/>
    <p:sldId id="2261" r:id="rId5"/>
    <p:sldId id="2260" r:id="rId6"/>
    <p:sldId id="2244" r:id="rId7"/>
    <p:sldId id="1482" r:id="rId8"/>
    <p:sldId id="1091" r:id="rId9"/>
    <p:sldId id="1171" r:id="rId10"/>
    <p:sldId id="1483" r:id="rId11"/>
    <p:sldId id="1726" r:id="rId12"/>
    <p:sldId id="1593" r:id="rId13"/>
    <p:sldId id="1728" r:id="rId14"/>
    <p:sldId id="2262" r:id="rId15"/>
    <p:sldId id="2278" r:id="rId16"/>
    <p:sldId id="2263" r:id="rId17"/>
    <p:sldId id="2264" r:id="rId18"/>
    <p:sldId id="2272" r:id="rId19"/>
    <p:sldId id="2274" r:id="rId20"/>
    <p:sldId id="2276" r:id="rId21"/>
  </p:sldIdLst>
  <p:sldSz cx="12192000" cy="6858000"/>
  <p:notesSz cx="6858000" cy="9144000"/>
  <p:embeddedFontLst>
    <p:embeddedFont>
      <p:font typeface="Calibri" panose="020F0502020204030204" pitchFamily="34" charset="0"/>
      <p:regular r:id="rId23"/>
      <p:bold r:id="rId24"/>
      <p:italic r:id="rId25"/>
      <p:boldItalic r:id="rId26"/>
    </p:embeddedFont>
  </p:embeddedFontLst>
  <p:custDataLst>
    <p:tags r:id="rId27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67" userDrawn="1">
          <p15:clr>
            <a:srgbClr val="A4A3A4"/>
          </p15:clr>
        </p15:guide>
        <p15:guide id="2" pos="43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FF00"/>
    <a:srgbClr val="FF00FF"/>
    <a:srgbClr val="0000FF"/>
    <a:srgbClr val="000000"/>
    <a:srgbClr val="F3D9DC"/>
    <a:srgbClr val="EFCCCF"/>
    <a:srgbClr val="FFFFFF"/>
    <a:srgbClr val="F7E7E9"/>
    <a:srgbClr val="B0C2E5"/>
    <a:srgbClr val="7191D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352" autoAdjust="0"/>
    <p:restoredTop sz="96327" autoAdjust="0"/>
  </p:normalViewPr>
  <p:slideViewPr>
    <p:cSldViewPr snapToGrid="0">
      <p:cViewPr varScale="1">
        <p:scale>
          <a:sx n="106" d="100"/>
          <a:sy n="106" d="100"/>
        </p:scale>
        <p:origin x="378" y="108"/>
      </p:cViewPr>
      <p:guideLst>
        <p:guide orient="horz" pos="867"/>
        <p:guide pos="438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-775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font" Target="fonts/font4.fntdata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font" Target="fonts/font3.fntdata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2.fntdata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1.fntdata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6315185741682282E-2"/>
          <c:y val="2.6417447585936279E-2"/>
          <c:w val="0.76661183243453179"/>
          <c:h val="0.87026380483546251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ZP celkem</c:v>
                </c:pt>
              </c:strCache>
            </c:strRef>
          </c:tx>
          <c:spPr>
            <a:ln w="28575" cap="rnd">
              <a:solidFill>
                <a:srgbClr val="000000"/>
              </a:solidFill>
              <a:round/>
            </a:ln>
            <a:effectLst/>
          </c:spPr>
          <c:marker>
            <c:symbol val="none"/>
          </c:marker>
          <c:cat>
            <c:strRef>
              <c:f>List1!$B$1:$KC$1</c:f>
              <c:strCache>
                <c:ptCount val="288"/>
                <c:pt idx="0">
                  <c:v>26-XII.</c:v>
                </c:pt>
                <c:pt idx="1">
                  <c:v>27-XII.</c:v>
                </c:pt>
                <c:pt idx="2">
                  <c:v>28-XII.</c:v>
                </c:pt>
                <c:pt idx="3">
                  <c:v>29-XII.</c:v>
                </c:pt>
                <c:pt idx="4">
                  <c:v>30-XII.</c:v>
                </c:pt>
                <c:pt idx="5">
                  <c:v>31-XII.</c:v>
                </c:pt>
                <c:pt idx="6">
                  <c:v>1-I.</c:v>
                </c:pt>
                <c:pt idx="7">
                  <c:v>2-I.</c:v>
                </c:pt>
                <c:pt idx="8">
                  <c:v>3-I.</c:v>
                </c:pt>
                <c:pt idx="9">
                  <c:v>4-I.</c:v>
                </c:pt>
                <c:pt idx="10">
                  <c:v>5-I.</c:v>
                </c:pt>
                <c:pt idx="11">
                  <c:v>6-I.</c:v>
                </c:pt>
                <c:pt idx="12">
                  <c:v>7-I.</c:v>
                </c:pt>
                <c:pt idx="13">
                  <c:v>8-I.</c:v>
                </c:pt>
                <c:pt idx="14">
                  <c:v>9-I.</c:v>
                </c:pt>
                <c:pt idx="15">
                  <c:v>10-I.</c:v>
                </c:pt>
                <c:pt idx="16">
                  <c:v>11-I.</c:v>
                </c:pt>
                <c:pt idx="17">
                  <c:v>12-I.</c:v>
                </c:pt>
                <c:pt idx="18">
                  <c:v>13-I.</c:v>
                </c:pt>
                <c:pt idx="19">
                  <c:v>14-I.</c:v>
                </c:pt>
                <c:pt idx="20">
                  <c:v>15-I.</c:v>
                </c:pt>
                <c:pt idx="21">
                  <c:v>16-I.</c:v>
                </c:pt>
                <c:pt idx="22">
                  <c:v>17-I.</c:v>
                </c:pt>
                <c:pt idx="23">
                  <c:v>18-I.</c:v>
                </c:pt>
                <c:pt idx="24">
                  <c:v>19-I.</c:v>
                </c:pt>
                <c:pt idx="25">
                  <c:v>20-I.</c:v>
                </c:pt>
                <c:pt idx="26">
                  <c:v>21-I.</c:v>
                </c:pt>
                <c:pt idx="27">
                  <c:v>22-I.</c:v>
                </c:pt>
                <c:pt idx="28">
                  <c:v>23-I.</c:v>
                </c:pt>
                <c:pt idx="29">
                  <c:v>24-I.</c:v>
                </c:pt>
                <c:pt idx="30">
                  <c:v>25-I.</c:v>
                </c:pt>
                <c:pt idx="31">
                  <c:v>26-I.</c:v>
                </c:pt>
                <c:pt idx="32">
                  <c:v>27-I.</c:v>
                </c:pt>
                <c:pt idx="33">
                  <c:v>28-I.</c:v>
                </c:pt>
                <c:pt idx="34">
                  <c:v>29-I.</c:v>
                </c:pt>
                <c:pt idx="35">
                  <c:v>30-I.</c:v>
                </c:pt>
                <c:pt idx="36">
                  <c:v>31-I.</c:v>
                </c:pt>
                <c:pt idx="37">
                  <c:v>1-II.</c:v>
                </c:pt>
                <c:pt idx="38">
                  <c:v>2-II.</c:v>
                </c:pt>
                <c:pt idx="39">
                  <c:v>3-II.</c:v>
                </c:pt>
                <c:pt idx="40">
                  <c:v>4-II.</c:v>
                </c:pt>
                <c:pt idx="41">
                  <c:v>5-II.</c:v>
                </c:pt>
                <c:pt idx="42">
                  <c:v>6-II.</c:v>
                </c:pt>
                <c:pt idx="43">
                  <c:v>7-II.</c:v>
                </c:pt>
                <c:pt idx="44">
                  <c:v>8-II.</c:v>
                </c:pt>
                <c:pt idx="45">
                  <c:v>9-II.</c:v>
                </c:pt>
                <c:pt idx="46">
                  <c:v>10-II.</c:v>
                </c:pt>
                <c:pt idx="47">
                  <c:v>11-II.</c:v>
                </c:pt>
                <c:pt idx="48">
                  <c:v>12-II.</c:v>
                </c:pt>
                <c:pt idx="49">
                  <c:v>13-II.</c:v>
                </c:pt>
                <c:pt idx="50">
                  <c:v>14-II.</c:v>
                </c:pt>
                <c:pt idx="51">
                  <c:v>15-II.</c:v>
                </c:pt>
                <c:pt idx="52">
                  <c:v>16-II.</c:v>
                </c:pt>
                <c:pt idx="53">
                  <c:v>17-II.</c:v>
                </c:pt>
                <c:pt idx="54">
                  <c:v>18-II.</c:v>
                </c:pt>
                <c:pt idx="55">
                  <c:v>19-II.</c:v>
                </c:pt>
                <c:pt idx="56">
                  <c:v>20-II.</c:v>
                </c:pt>
                <c:pt idx="57">
                  <c:v>21-II.</c:v>
                </c:pt>
                <c:pt idx="58">
                  <c:v>22-II.</c:v>
                </c:pt>
                <c:pt idx="59">
                  <c:v>23-II.</c:v>
                </c:pt>
                <c:pt idx="60">
                  <c:v>24-II.</c:v>
                </c:pt>
                <c:pt idx="61">
                  <c:v>25-II.</c:v>
                </c:pt>
                <c:pt idx="62">
                  <c:v>26-II.</c:v>
                </c:pt>
                <c:pt idx="63">
                  <c:v>27-II.</c:v>
                </c:pt>
                <c:pt idx="64">
                  <c:v>28-II.</c:v>
                </c:pt>
                <c:pt idx="65">
                  <c:v>1-III.</c:v>
                </c:pt>
                <c:pt idx="66">
                  <c:v>2-III.</c:v>
                </c:pt>
                <c:pt idx="67">
                  <c:v>3-III.</c:v>
                </c:pt>
                <c:pt idx="68">
                  <c:v>4-III.</c:v>
                </c:pt>
                <c:pt idx="69">
                  <c:v>5-III.</c:v>
                </c:pt>
                <c:pt idx="70">
                  <c:v>6-III.</c:v>
                </c:pt>
                <c:pt idx="71">
                  <c:v>7-III.</c:v>
                </c:pt>
                <c:pt idx="72">
                  <c:v>8-III.</c:v>
                </c:pt>
                <c:pt idx="73">
                  <c:v>9-III.</c:v>
                </c:pt>
                <c:pt idx="74">
                  <c:v>10-III.</c:v>
                </c:pt>
                <c:pt idx="75">
                  <c:v>11-III.</c:v>
                </c:pt>
                <c:pt idx="76">
                  <c:v>12-III.</c:v>
                </c:pt>
                <c:pt idx="77">
                  <c:v>13-III.</c:v>
                </c:pt>
                <c:pt idx="78">
                  <c:v>14-III.</c:v>
                </c:pt>
                <c:pt idx="79">
                  <c:v>15-III.</c:v>
                </c:pt>
                <c:pt idx="80">
                  <c:v>16-III.</c:v>
                </c:pt>
                <c:pt idx="81">
                  <c:v>17-III.</c:v>
                </c:pt>
                <c:pt idx="82">
                  <c:v>18-III.</c:v>
                </c:pt>
                <c:pt idx="83">
                  <c:v>19-III.</c:v>
                </c:pt>
                <c:pt idx="84">
                  <c:v>20-III.</c:v>
                </c:pt>
                <c:pt idx="85">
                  <c:v>21-III.</c:v>
                </c:pt>
                <c:pt idx="86">
                  <c:v>22-III.</c:v>
                </c:pt>
                <c:pt idx="87">
                  <c:v>23-III.</c:v>
                </c:pt>
                <c:pt idx="88">
                  <c:v>24-III.</c:v>
                </c:pt>
                <c:pt idx="89">
                  <c:v>25-III.</c:v>
                </c:pt>
                <c:pt idx="90">
                  <c:v>26-III.</c:v>
                </c:pt>
                <c:pt idx="91">
                  <c:v>27-III.</c:v>
                </c:pt>
                <c:pt idx="92">
                  <c:v>28-III.</c:v>
                </c:pt>
                <c:pt idx="93">
                  <c:v>29-III.</c:v>
                </c:pt>
                <c:pt idx="94">
                  <c:v>30-III.</c:v>
                </c:pt>
                <c:pt idx="95">
                  <c:v>31-III.</c:v>
                </c:pt>
                <c:pt idx="96">
                  <c:v>1-IV.</c:v>
                </c:pt>
                <c:pt idx="97">
                  <c:v>2-IV.</c:v>
                </c:pt>
                <c:pt idx="98">
                  <c:v>3-IV.</c:v>
                </c:pt>
                <c:pt idx="99">
                  <c:v>4-IV.</c:v>
                </c:pt>
                <c:pt idx="100">
                  <c:v>5-IV.</c:v>
                </c:pt>
                <c:pt idx="101">
                  <c:v>6-IV.</c:v>
                </c:pt>
                <c:pt idx="102">
                  <c:v>7-IV.</c:v>
                </c:pt>
                <c:pt idx="103">
                  <c:v>8-IV.</c:v>
                </c:pt>
                <c:pt idx="104">
                  <c:v>9-IV.</c:v>
                </c:pt>
                <c:pt idx="105">
                  <c:v>10-IV.</c:v>
                </c:pt>
                <c:pt idx="106">
                  <c:v>11-IV.</c:v>
                </c:pt>
                <c:pt idx="107">
                  <c:v>12-IV.</c:v>
                </c:pt>
                <c:pt idx="108">
                  <c:v>13-IV.</c:v>
                </c:pt>
                <c:pt idx="109">
                  <c:v>14-IV.</c:v>
                </c:pt>
                <c:pt idx="110">
                  <c:v>15-IV.</c:v>
                </c:pt>
                <c:pt idx="111">
                  <c:v>16-IV.</c:v>
                </c:pt>
                <c:pt idx="112">
                  <c:v>17-IV.</c:v>
                </c:pt>
                <c:pt idx="113">
                  <c:v>18-IV.</c:v>
                </c:pt>
                <c:pt idx="114">
                  <c:v>19-IV.</c:v>
                </c:pt>
                <c:pt idx="115">
                  <c:v>20-IV.</c:v>
                </c:pt>
                <c:pt idx="116">
                  <c:v>21-IV.</c:v>
                </c:pt>
                <c:pt idx="117">
                  <c:v>22-IV.</c:v>
                </c:pt>
                <c:pt idx="118">
                  <c:v>23-IV.</c:v>
                </c:pt>
                <c:pt idx="119">
                  <c:v>24-IV.</c:v>
                </c:pt>
                <c:pt idx="120">
                  <c:v>25-IV.</c:v>
                </c:pt>
                <c:pt idx="121">
                  <c:v>26-IV.</c:v>
                </c:pt>
                <c:pt idx="122">
                  <c:v>27-IV.</c:v>
                </c:pt>
                <c:pt idx="123">
                  <c:v>28-IV.</c:v>
                </c:pt>
                <c:pt idx="124">
                  <c:v>29-IV.</c:v>
                </c:pt>
                <c:pt idx="125">
                  <c:v>30-IV.</c:v>
                </c:pt>
                <c:pt idx="126">
                  <c:v>1-V.</c:v>
                </c:pt>
                <c:pt idx="127">
                  <c:v>2-V.</c:v>
                </c:pt>
                <c:pt idx="128">
                  <c:v>3-V.</c:v>
                </c:pt>
                <c:pt idx="129">
                  <c:v>4-V.</c:v>
                </c:pt>
                <c:pt idx="130">
                  <c:v>5-V.</c:v>
                </c:pt>
                <c:pt idx="131">
                  <c:v>6-V.</c:v>
                </c:pt>
                <c:pt idx="132">
                  <c:v>7-V.</c:v>
                </c:pt>
                <c:pt idx="133">
                  <c:v>8-V.</c:v>
                </c:pt>
                <c:pt idx="134">
                  <c:v>9-V.</c:v>
                </c:pt>
                <c:pt idx="135">
                  <c:v>10-V.</c:v>
                </c:pt>
                <c:pt idx="136">
                  <c:v>11-V.</c:v>
                </c:pt>
                <c:pt idx="137">
                  <c:v>12-V.</c:v>
                </c:pt>
                <c:pt idx="138">
                  <c:v>13-V.</c:v>
                </c:pt>
                <c:pt idx="139">
                  <c:v>14-V.</c:v>
                </c:pt>
                <c:pt idx="140">
                  <c:v>15-V.</c:v>
                </c:pt>
                <c:pt idx="141">
                  <c:v>16-V.</c:v>
                </c:pt>
                <c:pt idx="142">
                  <c:v>17-V.</c:v>
                </c:pt>
                <c:pt idx="143">
                  <c:v>18-V.</c:v>
                </c:pt>
                <c:pt idx="144">
                  <c:v>19-V.</c:v>
                </c:pt>
                <c:pt idx="145">
                  <c:v>20-V.</c:v>
                </c:pt>
                <c:pt idx="146">
                  <c:v>21-V.</c:v>
                </c:pt>
                <c:pt idx="147">
                  <c:v>22-V.</c:v>
                </c:pt>
                <c:pt idx="148">
                  <c:v>23-V.</c:v>
                </c:pt>
                <c:pt idx="149">
                  <c:v>24-V.</c:v>
                </c:pt>
                <c:pt idx="150">
                  <c:v>25-V.</c:v>
                </c:pt>
                <c:pt idx="151">
                  <c:v>26-V.</c:v>
                </c:pt>
                <c:pt idx="152">
                  <c:v>27-V.</c:v>
                </c:pt>
                <c:pt idx="153">
                  <c:v>28-V.</c:v>
                </c:pt>
                <c:pt idx="154">
                  <c:v>29-V.</c:v>
                </c:pt>
                <c:pt idx="155">
                  <c:v>30-V.</c:v>
                </c:pt>
                <c:pt idx="156">
                  <c:v>31-V.</c:v>
                </c:pt>
                <c:pt idx="157">
                  <c:v>1-VI.</c:v>
                </c:pt>
                <c:pt idx="158">
                  <c:v>2-VI.</c:v>
                </c:pt>
                <c:pt idx="159">
                  <c:v>3-VI.</c:v>
                </c:pt>
                <c:pt idx="160">
                  <c:v>4-VI.</c:v>
                </c:pt>
                <c:pt idx="161">
                  <c:v>5-VI.</c:v>
                </c:pt>
                <c:pt idx="162">
                  <c:v>6-VI.</c:v>
                </c:pt>
                <c:pt idx="163">
                  <c:v>7-VI.</c:v>
                </c:pt>
                <c:pt idx="164">
                  <c:v>8-VI.</c:v>
                </c:pt>
                <c:pt idx="165">
                  <c:v>9-VI.</c:v>
                </c:pt>
                <c:pt idx="166">
                  <c:v>10-VI.</c:v>
                </c:pt>
                <c:pt idx="167">
                  <c:v>11-VI.</c:v>
                </c:pt>
                <c:pt idx="168">
                  <c:v>12-VI.</c:v>
                </c:pt>
                <c:pt idx="169">
                  <c:v>13-VI.</c:v>
                </c:pt>
                <c:pt idx="170">
                  <c:v>14-VI.</c:v>
                </c:pt>
                <c:pt idx="171">
                  <c:v>15-VI.</c:v>
                </c:pt>
                <c:pt idx="172">
                  <c:v>16-VI.</c:v>
                </c:pt>
                <c:pt idx="173">
                  <c:v>17-VI.</c:v>
                </c:pt>
                <c:pt idx="174">
                  <c:v>18-VI.</c:v>
                </c:pt>
                <c:pt idx="175">
                  <c:v>19-VI.</c:v>
                </c:pt>
                <c:pt idx="176">
                  <c:v>20-VI.</c:v>
                </c:pt>
                <c:pt idx="177">
                  <c:v>21-VI.</c:v>
                </c:pt>
                <c:pt idx="178">
                  <c:v>22-VI.</c:v>
                </c:pt>
                <c:pt idx="179">
                  <c:v>23-VI.</c:v>
                </c:pt>
                <c:pt idx="180">
                  <c:v>24-VI.</c:v>
                </c:pt>
                <c:pt idx="181">
                  <c:v>25-VI.</c:v>
                </c:pt>
                <c:pt idx="182">
                  <c:v>26-VI.</c:v>
                </c:pt>
                <c:pt idx="183">
                  <c:v>27-VI.</c:v>
                </c:pt>
                <c:pt idx="184">
                  <c:v>28-VI.</c:v>
                </c:pt>
                <c:pt idx="185">
                  <c:v>29-VI.</c:v>
                </c:pt>
                <c:pt idx="186">
                  <c:v>30-VI.</c:v>
                </c:pt>
                <c:pt idx="187">
                  <c:v>1-VII.</c:v>
                </c:pt>
                <c:pt idx="188">
                  <c:v>2-VII.</c:v>
                </c:pt>
                <c:pt idx="189">
                  <c:v>3-VII.</c:v>
                </c:pt>
                <c:pt idx="190">
                  <c:v>4-VII.</c:v>
                </c:pt>
                <c:pt idx="191">
                  <c:v>5-VII.</c:v>
                </c:pt>
                <c:pt idx="192">
                  <c:v>6-VII.</c:v>
                </c:pt>
                <c:pt idx="193">
                  <c:v>7-VII.</c:v>
                </c:pt>
                <c:pt idx="194">
                  <c:v>8-VII.</c:v>
                </c:pt>
                <c:pt idx="195">
                  <c:v>9-VII.</c:v>
                </c:pt>
                <c:pt idx="196">
                  <c:v>10-VII.</c:v>
                </c:pt>
                <c:pt idx="197">
                  <c:v>11-VII.</c:v>
                </c:pt>
                <c:pt idx="198">
                  <c:v>12-VII.</c:v>
                </c:pt>
                <c:pt idx="199">
                  <c:v>13-VII.</c:v>
                </c:pt>
                <c:pt idx="200">
                  <c:v>14-VII.</c:v>
                </c:pt>
                <c:pt idx="201">
                  <c:v>15-VII.</c:v>
                </c:pt>
                <c:pt idx="202">
                  <c:v>16-VII.</c:v>
                </c:pt>
                <c:pt idx="203">
                  <c:v>17-VII.</c:v>
                </c:pt>
                <c:pt idx="204">
                  <c:v>18-VII.</c:v>
                </c:pt>
                <c:pt idx="205">
                  <c:v>19-VII.</c:v>
                </c:pt>
                <c:pt idx="206">
                  <c:v>20-VII.</c:v>
                </c:pt>
                <c:pt idx="207">
                  <c:v>21-VII.</c:v>
                </c:pt>
                <c:pt idx="208">
                  <c:v>22-VII.</c:v>
                </c:pt>
                <c:pt idx="209">
                  <c:v>23-VII.</c:v>
                </c:pt>
                <c:pt idx="210">
                  <c:v>24-VII.</c:v>
                </c:pt>
                <c:pt idx="211">
                  <c:v>25-VII.</c:v>
                </c:pt>
                <c:pt idx="212">
                  <c:v>26-VII.</c:v>
                </c:pt>
                <c:pt idx="213">
                  <c:v>27-VII.</c:v>
                </c:pt>
                <c:pt idx="214">
                  <c:v>28-VII.</c:v>
                </c:pt>
                <c:pt idx="215">
                  <c:v>29-VII.</c:v>
                </c:pt>
                <c:pt idx="216">
                  <c:v>30-VII.</c:v>
                </c:pt>
                <c:pt idx="217">
                  <c:v>31-VII.</c:v>
                </c:pt>
                <c:pt idx="218">
                  <c:v>1-VIII.</c:v>
                </c:pt>
                <c:pt idx="219">
                  <c:v>2-VIII.</c:v>
                </c:pt>
                <c:pt idx="220">
                  <c:v>3-VIII.</c:v>
                </c:pt>
                <c:pt idx="221">
                  <c:v>4-VIII.</c:v>
                </c:pt>
                <c:pt idx="222">
                  <c:v>5-VIII.</c:v>
                </c:pt>
                <c:pt idx="223">
                  <c:v>6-VIII.</c:v>
                </c:pt>
                <c:pt idx="224">
                  <c:v>7-VIII.</c:v>
                </c:pt>
                <c:pt idx="225">
                  <c:v>8-VIII.</c:v>
                </c:pt>
                <c:pt idx="226">
                  <c:v>9-VIII.</c:v>
                </c:pt>
                <c:pt idx="227">
                  <c:v>10-VIII.</c:v>
                </c:pt>
                <c:pt idx="228">
                  <c:v>11-VIII.</c:v>
                </c:pt>
                <c:pt idx="229">
                  <c:v>12-VIII.</c:v>
                </c:pt>
                <c:pt idx="230">
                  <c:v>13-VIII.</c:v>
                </c:pt>
                <c:pt idx="231">
                  <c:v>14-VIII.</c:v>
                </c:pt>
                <c:pt idx="232">
                  <c:v>15-VIII.</c:v>
                </c:pt>
                <c:pt idx="233">
                  <c:v>16-VIII.</c:v>
                </c:pt>
                <c:pt idx="234">
                  <c:v>17-VIII.</c:v>
                </c:pt>
                <c:pt idx="235">
                  <c:v>18-VIII.</c:v>
                </c:pt>
                <c:pt idx="236">
                  <c:v>19-VIII.</c:v>
                </c:pt>
                <c:pt idx="237">
                  <c:v>20-VIII.</c:v>
                </c:pt>
                <c:pt idx="238">
                  <c:v>21-VIII.</c:v>
                </c:pt>
                <c:pt idx="239">
                  <c:v>22-VIII.</c:v>
                </c:pt>
                <c:pt idx="240">
                  <c:v>23-VIII.</c:v>
                </c:pt>
                <c:pt idx="241">
                  <c:v>24-VIII.</c:v>
                </c:pt>
                <c:pt idx="242">
                  <c:v>25-VIII.</c:v>
                </c:pt>
                <c:pt idx="243">
                  <c:v>26-VIII.</c:v>
                </c:pt>
                <c:pt idx="244">
                  <c:v>27-VIII.</c:v>
                </c:pt>
                <c:pt idx="245">
                  <c:v>28-VIII.</c:v>
                </c:pt>
                <c:pt idx="246">
                  <c:v>29-VIII.</c:v>
                </c:pt>
                <c:pt idx="247">
                  <c:v>30-VIII.</c:v>
                </c:pt>
                <c:pt idx="248">
                  <c:v>31-VIII.</c:v>
                </c:pt>
                <c:pt idx="249">
                  <c:v>1-IX.</c:v>
                </c:pt>
                <c:pt idx="250">
                  <c:v>2-IX.</c:v>
                </c:pt>
                <c:pt idx="251">
                  <c:v>3-IX.</c:v>
                </c:pt>
                <c:pt idx="252">
                  <c:v>4-IX.</c:v>
                </c:pt>
                <c:pt idx="253">
                  <c:v>5-IX.</c:v>
                </c:pt>
                <c:pt idx="254">
                  <c:v>6-IX.</c:v>
                </c:pt>
                <c:pt idx="255">
                  <c:v>7-IX.</c:v>
                </c:pt>
                <c:pt idx="256">
                  <c:v>8-IX.</c:v>
                </c:pt>
                <c:pt idx="257">
                  <c:v>9-IX.</c:v>
                </c:pt>
                <c:pt idx="258">
                  <c:v>10-IX.</c:v>
                </c:pt>
                <c:pt idx="259">
                  <c:v>11-IX.</c:v>
                </c:pt>
                <c:pt idx="260">
                  <c:v>12-IX.</c:v>
                </c:pt>
                <c:pt idx="261">
                  <c:v>13-IX.</c:v>
                </c:pt>
                <c:pt idx="262">
                  <c:v>14-IX.</c:v>
                </c:pt>
                <c:pt idx="263">
                  <c:v>15-IX.</c:v>
                </c:pt>
                <c:pt idx="264">
                  <c:v>16-IX.</c:v>
                </c:pt>
                <c:pt idx="265">
                  <c:v>17-IX.</c:v>
                </c:pt>
                <c:pt idx="266">
                  <c:v>18-IX.</c:v>
                </c:pt>
                <c:pt idx="267">
                  <c:v>19-IX.</c:v>
                </c:pt>
                <c:pt idx="268">
                  <c:v>20-IX.</c:v>
                </c:pt>
                <c:pt idx="269">
                  <c:v>21-IX.</c:v>
                </c:pt>
                <c:pt idx="270">
                  <c:v>22-IX.</c:v>
                </c:pt>
                <c:pt idx="271">
                  <c:v>23-IX.</c:v>
                </c:pt>
                <c:pt idx="272">
                  <c:v>24-IX.</c:v>
                </c:pt>
                <c:pt idx="273">
                  <c:v>25-IX.</c:v>
                </c:pt>
                <c:pt idx="274">
                  <c:v>26-IX.</c:v>
                </c:pt>
                <c:pt idx="275">
                  <c:v>27-IX.</c:v>
                </c:pt>
                <c:pt idx="276">
                  <c:v>28-IX.</c:v>
                </c:pt>
                <c:pt idx="277">
                  <c:v>29-IX.</c:v>
                </c:pt>
                <c:pt idx="278">
                  <c:v>30-IX.</c:v>
                </c:pt>
                <c:pt idx="279">
                  <c:v>1-X.</c:v>
                </c:pt>
                <c:pt idx="280">
                  <c:v>2-X.</c:v>
                </c:pt>
                <c:pt idx="281">
                  <c:v>3-X.</c:v>
                </c:pt>
                <c:pt idx="282">
                  <c:v>4-X.</c:v>
                </c:pt>
                <c:pt idx="283">
                  <c:v>5-X.</c:v>
                </c:pt>
                <c:pt idx="284">
                  <c:v>6-X.</c:v>
                </c:pt>
                <c:pt idx="285">
                  <c:v>7-X.</c:v>
                </c:pt>
                <c:pt idx="286">
                  <c:v>8-X.</c:v>
                </c:pt>
                <c:pt idx="287">
                  <c:v>9-X.</c:v>
                </c:pt>
              </c:strCache>
            </c:strRef>
          </c:cat>
          <c:val>
            <c:numRef>
              <c:f>List1!$B$2:$KC$2</c:f>
              <c:numCache>
                <c:formatCode>General</c:formatCode>
                <c:ptCount val="288"/>
                <c:pt idx="1">
                  <c:v>1048</c:v>
                </c:pt>
                <c:pt idx="2">
                  <c:v>2956</c:v>
                </c:pt>
                <c:pt idx="3">
                  <c:v>5628</c:v>
                </c:pt>
                <c:pt idx="4">
                  <c:v>8335</c:v>
                </c:pt>
                <c:pt idx="5">
                  <c:v>9229</c:v>
                </c:pt>
                <c:pt idx="6">
                  <c:v>9464</c:v>
                </c:pt>
                <c:pt idx="7">
                  <c:v>10631</c:v>
                </c:pt>
                <c:pt idx="8">
                  <c:v>11478</c:v>
                </c:pt>
                <c:pt idx="9">
                  <c:v>14652</c:v>
                </c:pt>
                <c:pt idx="10">
                  <c:v>18577</c:v>
                </c:pt>
                <c:pt idx="11">
                  <c:v>23512</c:v>
                </c:pt>
                <c:pt idx="12">
                  <c:v>29350</c:v>
                </c:pt>
                <c:pt idx="13">
                  <c:v>36134</c:v>
                </c:pt>
                <c:pt idx="14">
                  <c:v>37296</c:v>
                </c:pt>
                <c:pt idx="15">
                  <c:v>38247</c:v>
                </c:pt>
                <c:pt idx="16">
                  <c:v>44661</c:v>
                </c:pt>
                <c:pt idx="17">
                  <c:v>52110</c:v>
                </c:pt>
                <c:pt idx="18">
                  <c:v>58712</c:v>
                </c:pt>
                <c:pt idx="19">
                  <c:v>65687</c:v>
                </c:pt>
                <c:pt idx="20">
                  <c:v>71892</c:v>
                </c:pt>
                <c:pt idx="21">
                  <c:v>72826</c:v>
                </c:pt>
                <c:pt idx="22">
                  <c:v>73376</c:v>
                </c:pt>
                <c:pt idx="23">
                  <c:v>78065</c:v>
                </c:pt>
                <c:pt idx="24">
                  <c:v>81873</c:v>
                </c:pt>
                <c:pt idx="25">
                  <c:v>85583</c:v>
                </c:pt>
                <c:pt idx="26">
                  <c:v>88979</c:v>
                </c:pt>
                <c:pt idx="27">
                  <c:v>91863</c:v>
                </c:pt>
                <c:pt idx="28">
                  <c:v>92254</c:v>
                </c:pt>
                <c:pt idx="29">
                  <c:v>92488</c:v>
                </c:pt>
                <c:pt idx="30">
                  <c:v>94092</c:v>
                </c:pt>
                <c:pt idx="31">
                  <c:v>95861</c:v>
                </c:pt>
                <c:pt idx="32">
                  <c:v>97306</c:v>
                </c:pt>
                <c:pt idx="33">
                  <c:v>98686</c:v>
                </c:pt>
                <c:pt idx="34">
                  <c:v>99966</c:v>
                </c:pt>
                <c:pt idx="35">
                  <c:v>100038</c:v>
                </c:pt>
                <c:pt idx="36">
                  <c:v>100109</c:v>
                </c:pt>
                <c:pt idx="37">
                  <c:v>101004</c:v>
                </c:pt>
                <c:pt idx="38">
                  <c:v>101870</c:v>
                </c:pt>
                <c:pt idx="39">
                  <c:v>102687</c:v>
                </c:pt>
                <c:pt idx="40">
                  <c:v>103397</c:v>
                </c:pt>
                <c:pt idx="41">
                  <c:v>104327</c:v>
                </c:pt>
                <c:pt idx="42">
                  <c:v>104379</c:v>
                </c:pt>
                <c:pt idx="43">
                  <c:v>104429</c:v>
                </c:pt>
                <c:pt idx="44">
                  <c:v>105071</c:v>
                </c:pt>
                <c:pt idx="45">
                  <c:v>105728</c:v>
                </c:pt>
                <c:pt idx="46">
                  <c:v>106595</c:v>
                </c:pt>
                <c:pt idx="47">
                  <c:v>107649</c:v>
                </c:pt>
                <c:pt idx="48">
                  <c:v>108848</c:v>
                </c:pt>
                <c:pt idx="49">
                  <c:v>109227</c:v>
                </c:pt>
                <c:pt idx="50">
                  <c:v>109412</c:v>
                </c:pt>
                <c:pt idx="51">
                  <c:v>110735</c:v>
                </c:pt>
                <c:pt idx="52">
                  <c:v>112030</c:v>
                </c:pt>
                <c:pt idx="53">
                  <c:v>113407</c:v>
                </c:pt>
                <c:pt idx="54">
                  <c:v>114973</c:v>
                </c:pt>
                <c:pt idx="55">
                  <c:v>116825</c:v>
                </c:pt>
                <c:pt idx="56">
                  <c:v>117283</c:v>
                </c:pt>
                <c:pt idx="57">
                  <c:v>117444</c:v>
                </c:pt>
                <c:pt idx="58">
                  <c:v>119036</c:v>
                </c:pt>
                <c:pt idx="59">
                  <c:v>121330</c:v>
                </c:pt>
                <c:pt idx="60">
                  <c:v>123830</c:v>
                </c:pt>
                <c:pt idx="61">
                  <c:v>126860</c:v>
                </c:pt>
                <c:pt idx="62">
                  <c:v>129470</c:v>
                </c:pt>
                <c:pt idx="63">
                  <c:v>129780</c:v>
                </c:pt>
                <c:pt idx="64">
                  <c:v>129998</c:v>
                </c:pt>
                <c:pt idx="65">
                  <c:v>132542</c:v>
                </c:pt>
                <c:pt idx="66">
                  <c:v>135302</c:v>
                </c:pt>
                <c:pt idx="67">
                  <c:v>137961</c:v>
                </c:pt>
                <c:pt idx="68">
                  <c:v>140413</c:v>
                </c:pt>
                <c:pt idx="69">
                  <c:v>143380</c:v>
                </c:pt>
                <c:pt idx="70">
                  <c:v>144083</c:v>
                </c:pt>
                <c:pt idx="71">
                  <c:v>144592</c:v>
                </c:pt>
                <c:pt idx="72">
                  <c:v>146539</c:v>
                </c:pt>
                <c:pt idx="73">
                  <c:v>148672</c:v>
                </c:pt>
                <c:pt idx="74">
                  <c:v>150915</c:v>
                </c:pt>
                <c:pt idx="75">
                  <c:v>153915</c:v>
                </c:pt>
                <c:pt idx="76">
                  <c:v>156525</c:v>
                </c:pt>
                <c:pt idx="77">
                  <c:v>157184</c:v>
                </c:pt>
                <c:pt idx="78">
                  <c:v>157751</c:v>
                </c:pt>
                <c:pt idx="79">
                  <c:v>159330</c:v>
                </c:pt>
                <c:pt idx="80">
                  <c:v>161658</c:v>
                </c:pt>
                <c:pt idx="81">
                  <c:v>163973</c:v>
                </c:pt>
                <c:pt idx="82">
                  <c:v>165997</c:v>
                </c:pt>
                <c:pt idx="83">
                  <c:v>168255</c:v>
                </c:pt>
                <c:pt idx="84">
                  <c:v>169131</c:v>
                </c:pt>
                <c:pt idx="85">
                  <c:v>169578</c:v>
                </c:pt>
                <c:pt idx="86">
                  <c:v>170731</c:v>
                </c:pt>
                <c:pt idx="87">
                  <c:v>171970</c:v>
                </c:pt>
                <c:pt idx="88">
                  <c:v>173037</c:v>
                </c:pt>
                <c:pt idx="89">
                  <c:v>174334</c:v>
                </c:pt>
                <c:pt idx="90">
                  <c:v>175708</c:v>
                </c:pt>
                <c:pt idx="91">
                  <c:v>176082</c:v>
                </c:pt>
                <c:pt idx="92">
                  <c:v>176425</c:v>
                </c:pt>
                <c:pt idx="93">
                  <c:v>177208</c:v>
                </c:pt>
                <c:pt idx="94">
                  <c:v>178237</c:v>
                </c:pt>
                <c:pt idx="95">
                  <c:v>179365</c:v>
                </c:pt>
                <c:pt idx="96">
                  <c:v>180464</c:v>
                </c:pt>
                <c:pt idx="97">
                  <c:v>180734</c:v>
                </c:pt>
                <c:pt idx="98">
                  <c:v>180855</c:v>
                </c:pt>
                <c:pt idx="99">
                  <c:v>180971</c:v>
                </c:pt>
                <c:pt idx="100">
                  <c:v>181042</c:v>
                </c:pt>
                <c:pt idx="101">
                  <c:v>181621</c:v>
                </c:pt>
                <c:pt idx="102">
                  <c:v>182293</c:v>
                </c:pt>
                <c:pt idx="103">
                  <c:v>183534</c:v>
                </c:pt>
                <c:pt idx="104">
                  <c:v>184803</c:v>
                </c:pt>
                <c:pt idx="105">
                  <c:v>185179</c:v>
                </c:pt>
                <c:pt idx="106">
                  <c:v>185426</c:v>
                </c:pt>
                <c:pt idx="107">
                  <c:v>186361</c:v>
                </c:pt>
                <c:pt idx="108">
                  <c:v>187170</c:v>
                </c:pt>
                <c:pt idx="109">
                  <c:v>188113</c:v>
                </c:pt>
                <c:pt idx="110">
                  <c:v>189479</c:v>
                </c:pt>
                <c:pt idx="111">
                  <c:v>191023</c:v>
                </c:pt>
                <c:pt idx="112">
                  <c:v>191442</c:v>
                </c:pt>
                <c:pt idx="113">
                  <c:v>191883</c:v>
                </c:pt>
                <c:pt idx="114">
                  <c:v>192979</c:v>
                </c:pt>
                <c:pt idx="115">
                  <c:v>194025</c:v>
                </c:pt>
                <c:pt idx="116">
                  <c:v>195318</c:v>
                </c:pt>
                <c:pt idx="117">
                  <c:v>196789</c:v>
                </c:pt>
                <c:pt idx="118">
                  <c:v>198300</c:v>
                </c:pt>
                <c:pt idx="119">
                  <c:v>198736</c:v>
                </c:pt>
                <c:pt idx="120">
                  <c:v>199110</c:v>
                </c:pt>
                <c:pt idx="121">
                  <c:v>200316</c:v>
                </c:pt>
                <c:pt idx="122">
                  <c:v>201407</c:v>
                </c:pt>
                <c:pt idx="123">
                  <c:v>202789</c:v>
                </c:pt>
                <c:pt idx="124">
                  <c:v>204263</c:v>
                </c:pt>
                <c:pt idx="125">
                  <c:v>205660</c:v>
                </c:pt>
                <c:pt idx="126">
                  <c:v>205997</c:v>
                </c:pt>
                <c:pt idx="127">
                  <c:v>206335</c:v>
                </c:pt>
                <c:pt idx="128">
                  <c:v>207414</c:v>
                </c:pt>
                <c:pt idx="129">
                  <c:v>208513</c:v>
                </c:pt>
                <c:pt idx="130">
                  <c:v>209650</c:v>
                </c:pt>
                <c:pt idx="131">
                  <c:v>210841</c:v>
                </c:pt>
                <c:pt idx="132">
                  <c:v>212139</c:v>
                </c:pt>
                <c:pt idx="133">
                  <c:v>212637</c:v>
                </c:pt>
                <c:pt idx="134">
                  <c:v>212947</c:v>
                </c:pt>
                <c:pt idx="135">
                  <c:v>213918</c:v>
                </c:pt>
                <c:pt idx="136">
                  <c:v>214938</c:v>
                </c:pt>
                <c:pt idx="137">
                  <c:v>215972</c:v>
                </c:pt>
                <c:pt idx="138">
                  <c:v>217101</c:v>
                </c:pt>
                <c:pt idx="139">
                  <c:v>218094</c:v>
                </c:pt>
                <c:pt idx="140">
                  <c:v>218532</c:v>
                </c:pt>
                <c:pt idx="141">
                  <c:v>218816</c:v>
                </c:pt>
                <c:pt idx="142">
                  <c:v>219599</c:v>
                </c:pt>
                <c:pt idx="143">
                  <c:v>220476</c:v>
                </c:pt>
                <c:pt idx="144">
                  <c:v>221375</c:v>
                </c:pt>
                <c:pt idx="145">
                  <c:v>222300</c:v>
                </c:pt>
                <c:pt idx="146">
                  <c:v>223217</c:v>
                </c:pt>
                <c:pt idx="147">
                  <c:v>223567</c:v>
                </c:pt>
                <c:pt idx="148">
                  <c:v>223795</c:v>
                </c:pt>
                <c:pt idx="149">
                  <c:v>224342</c:v>
                </c:pt>
                <c:pt idx="150">
                  <c:v>224967</c:v>
                </c:pt>
                <c:pt idx="151">
                  <c:v>225816</c:v>
                </c:pt>
                <c:pt idx="152">
                  <c:v>226594</c:v>
                </c:pt>
                <c:pt idx="153">
                  <c:v>227414</c:v>
                </c:pt>
                <c:pt idx="154">
                  <c:v>227774</c:v>
                </c:pt>
                <c:pt idx="155">
                  <c:v>228063</c:v>
                </c:pt>
                <c:pt idx="156">
                  <c:v>228751</c:v>
                </c:pt>
                <c:pt idx="157">
                  <c:v>229472</c:v>
                </c:pt>
                <c:pt idx="158">
                  <c:v>230356</c:v>
                </c:pt>
                <c:pt idx="159">
                  <c:v>231190</c:v>
                </c:pt>
                <c:pt idx="160">
                  <c:v>232068</c:v>
                </c:pt>
                <c:pt idx="161">
                  <c:v>232486</c:v>
                </c:pt>
                <c:pt idx="162">
                  <c:v>232884</c:v>
                </c:pt>
                <c:pt idx="163">
                  <c:v>233770</c:v>
                </c:pt>
                <c:pt idx="164">
                  <c:v>234743</c:v>
                </c:pt>
                <c:pt idx="165">
                  <c:v>235653</c:v>
                </c:pt>
                <c:pt idx="166">
                  <c:v>236524</c:v>
                </c:pt>
                <c:pt idx="167">
                  <c:v>237369</c:v>
                </c:pt>
                <c:pt idx="168">
                  <c:v>237886</c:v>
                </c:pt>
                <c:pt idx="169">
                  <c:v>238251</c:v>
                </c:pt>
                <c:pt idx="170">
                  <c:v>238918</c:v>
                </c:pt>
                <c:pt idx="171">
                  <c:v>239658</c:v>
                </c:pt>
                <c:pt idx="172">
                  <c:v>240358</c:v>
                </c:pt>
                <c:pt idx="173">
                  <c:v>241053</c:v>
                </c:pt>
                <c:pt idx="174">
                  <c:v>241713</c:v>
                </c:pt>
                <c:pt idx="175">
                  <c:v>242041</c:v>
                </c:pt>
                <c:pt idx="176">
                  <c:v>242296</c:v>
                </c:pt>
                <c:pt idx="177">
                  <c:v>242800</c:v>
                </c:pt>
                <c:pt idx="178">
                  <c:v>243380</c:v>
                </c:pt>
                <c:pt idx="179">
                  <c:v>243867</c:v>
                </c:pt>
                <c:pt idx="180">
                  <c:v>244362</c:v>
                </c:pt>
                <c:pt idx="181">
                  <c:v>244853</c:v>
                </c:pt>
                <c:pt idx="182">
                  <c:v>245106</c:v>
                </c:pt>
                <c:pt idx="183">
                  <c:v>245290</c:v>
                </c:pt>
                <c:pt idx="184">
                  <c:v>245779</c:v>
                </c:pt>
                <c:pt idx="185">
                  <c:v>246231</c:v>
                </c:pt>
                <c:pt idx="186">
                  <c:v>246703</c:v>
                </c:pt>
                <c:pt idx="187">
                  <c:v>247059</c:v>
                </c:pt>
                <c:pt idx="188">
                  <c:v>247539</c:v>
                </c:pt>
                <c:pt idx="189">
                  <c:v>247637</c:v>
                </c:pt>
                <c:pt idx="190">
                  <c:v>247751</c:v>
                </c:pt>
                <c:pt idx="191">
                  <c:v>247859</c:v>
                </c:pt>
                <c:pt idx="192">
                  <c:v>247956</c:v>
                </c:pt>
                <c:pt idx="193">
                  <c:v>248365</c:v>
                </c:pt>
                <c:pt idx="194">
                  <c:v>248806</c:v>
                </c:pt>
                <c:pt idx="195">
                  <c:v>249244</c:v>
                </c:pt>
                <c:pt idx="196">
                  <c:v>249409</c:v>
                </c:pt>
                <c:pt idx="197">
                  <c:v>249529</c:v>
                </c:pt>
                <c:pt idx="198">
                  <c:v>249967</c:v>
                </c:pt>
                <c:pt idx="199">
                  <c:v>250410</c:v>
                </c:pt>
                <c:pt idx="200">
                  <c:v>250890</c:v>
                </c:pt>
                <c:pt idx="201">
                  <c:v>251378</c:v>
                </c:pt>
                <c:pt idx="202">
                  <c:v>251860</c:v>
                </c:pt>
                <c:pt idx="203">
                  <c:v>252038</c:v>
                </c:pt>
                <c:pt idx="204">
                  <c:v>252183</c:v>
                </c:pt>
                <c:pt idx="205">
                  <c:v>252601</c:v>
                </c:pt>
                <c:pt idx="206">
                  <c:v>252953</c:v>
                </c:pt>
                <c:pt idx="207">
                  <c:v>253414</c:v>
                </c:pt>
                <c:pt idx="208">
                  <c:v>253804</c:v>
                </c:pt>
                <c:pt idx="209">
                  <c:v>254191</c:v>
                </c:pt>
                <c:pt idx="210">
                  <c:v>254303</c:v>
                </c:pt>
                <c:pt idx="211">
                  <c:v>254390</c:v>
                </c:pt>
                <c:pt idx="212">
                  <c:v>254775</c:v>
                </c:pt>
                <c:pt idx="213">
                  <c:v>255195</c:v>
                </c:pt>
                <c:pt idx="214">
                  <c:v>255550</c:v>
                </c:pt>
                <c:pt idx="215">
                  <c:v>255880</c:v>
                </c:pt>
                <c:pt idx="216">
                  <c:v>256294</c:v>
                </c:pt>
                <c:pt idx="217">
                  <c:v>256417</c:v>
                </c:pt>
                <c:pt idx="218">
                  <c:v>256517</c:v>
                </c:pt>
                <c:pt idx="219">
                  <c:v>256797</c:v>
                </c:pt>
                <c:pt idx="220">
                  <c:v>257059</c:v>
                </c:pt>
                <c:pt idx="221">
                  <c:v>257371</c:v>
                </c:pt>
                <c:pt idx="222">
                  <c:v>257634</c:v>
                </c:pt>
                <c:pt idx="223">
                  <c:v>257913</c:v>
                </c:pt>
                <c:pt idx="224">
                  <c:v>257985</c:v>
                </c:pt>
                <c:pt idx="225">
                  <c:v>258047</c:v>
                </c:pt>
                <c:pt idx="226">
                  <c:v>258254</c:v>
                </c:pt>
                <c:pt idx="227">
                  <c:v>258461</c:v>
                </c:pt>
                <c:pt idx="228">
                  <c:v>258622</c:v>
                </c:pt>
                <c:pt idx="229">
                  <c:v>258852</c:v>
                </c:pt>
                <c:pt idx="230">
                  <c:v>259041</c:v>
                </c:pt>
                <c:pt idx="231">
                  <c:v>259096</c:v>
                </c:pt>
                <c:pt idx="232">
                  <c:v>259141</c:v>
                </c:pt>
                <c:pt idx="233">
                  <c:v>259323</c:v>
                </c:pt>
                <c:pt idx="234">
                  <c:v>259504</c:v>
                </c:pt>
                <c:pt idx="235">
                  <c:v>259666</c:v>
                </c:pt>
                <c:pt idx="236">
                  <c:v>259827</c:v>
                </c:pt>
                <c:pt idx="237">
                  <c:v>260069</c:v>
                </c:pt>
                <c:pt idx="238">
                  <c:v>260111</c:v>
                </c:pt>
                <c:pt idx="239">
                  <c:v>260142</c:v>
                </c:pt>
                <c:pt idx="240">
                  <c:v>260340</c:v>
                </c:pt>
                <c:pt idx="241">
                  <c:v>260531</c:v>
                </c:pt>
                <c:pt idx="242">
                  <c:v>260695</c:v>
                </c:pt>
                <c:pt idx="243">
                  <c:v>260854</c:v>
                </c:pt>
                <c:pt idx="244">
                  <c:v>261070</c:v>
                </c:pt>
                <c:pt idx="245">
                  <c:v>261112</c:v>
                </c:pt>
                <c:pt idx="246">
                  <c:v>261145</c:v>
                </c:pt>
                <c:pt idx="247">
                  <c:v>261314</c:v>
                </c:pt>
                <c:pt idx="248">
                  <c:v>261476</c:v>
                </c:pt>
                <c:pt idx="249">
                  <c:v>261594</c:v>
                </c:pt>
                <c:pt idx="250">
                  <c:v>261767</c:v>
                </c:pt>
                <c:pt idx="251">
                  <c:v>261960</c:v>
                </c:pt>
                <c:pt idx="252">
                  <c:v>261995</c:v>
                </c:pt>
                <c:pt idx="253">
                  <c:v>262028</c:v>
                </c:pt>
                <c:pt idx="254">
                  <c:v>262160</c:v>
                </c:pt>
                <c:pt idx="255">
                  <c:v>262247</c:v>
                </c:pt>
                <c:pt idx="256">
                  <c:v>262369</c:v>
                </c:pt>
                <c:pt idx="257">
                  <c:v>262510</c:v>
                </c:pt>
                <c:pt idx="258">
                  <c:v>262653</c:v>
                </c:pt>
                <c:pt idx="259">
                  <c:v>262687</c:v>
                </c:pt>
                <c:pt idx="260">
                  <c:v>262710</c:v>
                </c:pt>
                <c:pt idx="261">
                  <c:v>262821</c:v>
                </c:pt>
                <c:pt idx="262">
                  <c:v>262952</c:v>
                </c:pt>
                <c:pt idx="263">
                  <c:v>263056</c:v>
                </c:pt>
                <c:pt idx="264">
                  <c:v>263176</c:v>
                </c:pt>
                <c:pt idx="265">
                  <c:v>263337</c:v>
                </c:pt>
                <c:pt idx="266">
                  <c:v>263378</c:v>
                </c:pt>
                <c:pt idx="267">
                  <c:v>263389</c:v>
                </c:pt>
                <c:pt idx="268">
                  <c:v>263486</c:v>
                </c:pt>
                <c:pt idx="269">
                  <c:v>263584</c:v>
                </c:pt>
                <c:pt idx="270">
                  <c:v>263675</c:v>
                </c:pt>
                <c:pt idx="271">
                  <c:v>263801</c:v>
                </c:pt>
                <c:pt idx="272">
                  <c:v>263967</c:v>
                </c:pt>
                <c:pt idx="273">
                  <c:v>263996</c:v>
                </c:pt>
                <c:pt idx="274">
                  <c:v>264006</c:v>
                </c:pt>
                <c:pt idx="275">
                  <c:v>264098</c:v>
                </c:pt>
                <c:pt idx="276">
                  <c:v>264104</c:v>
                </c:pt>
                <c:pt idx="277">
                  <c:v>264186</c:v>
                </c:pt>
                <c:pt idx="278">
                  <c:v>264280</c:v>
                </c:pt>
                <c:pt idx="279">
                  <c:v>264361</c:v>
                </c:pt>
                <c:pt idx="280">
                  <c:v>264382</c:v>
                </c:pt>
                <c:pt idx="281">
                  <c:v>264395</c:v>
                </c:pt>
                <c:pt idx="282">
                  <c:v>264459</c:v>
                </c:pt>
                <c:pt idx="283">
                  <c:v>264531</c:v>
                </c:pt>
                <c:pt idx="284">
                  <c:v>264622</c:v>
                </c:pt>
                <c:pt idx="285">
                  <c:v>264687</c:v>
                </c:pt>
                <c:pt idx="286">
                  <c:v>264788</c:v>
                </c:pt>
                <c:pt idx="287">
                  <c:v>2648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9B2-46E3-85FE-A83BCF6CC085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Sestry</c:v>
                </c:pt>
              </c:strCache>
            </c:strRef>
          </c:tx>
          <c:spPr>
            <a:ln w="28575" cap="rnd">
              <a:solidFill>
                <a:srgbClr val="ED7D31"/>
              </a:solidFill>
              <a:round/>
            </a:ln>
            <a:effectLst/>
          </c:spPr>
          <c:marker>
            <c:symbol val="none"/>
          </c:marker>
          <c:cat>
            <c:strRef>
              <c:f>List1!$B$1:$KC$1</c:f>
              <c:strCache>
                <c:ptCount val="288"/>
                <c:pt idx="0">
                  <c:v>26-XII.</c:v>
                </c:pt>
                <c:pt idx="1">
                  <c:v>27-XII.</c:v>
                </c:pt>
                <c:pt idx="2">
                  <c:v>28-XII.</c:v>
                </c:pt>
                <c:pt idx="3">
                  <c:v>29-XII.</c:v>
                </c:pt>
                <c:pt idx="4">
                  <c:v>30-XII.</c:v>
                </c:pt>
                <c:pt idx="5">
                  <c:v>31-XII.</c:v>
                </c:pt>
                <c:pt idx="6">
                  <c:v>1-I.</c:v>
                </c:pt>
                <c:pt idx="7">
                  <c:v>2-I.</c:v>
                </c:pt>
                <c:pt idx="8">
                  <c:v>3-I.</c:v>
                </c:pt>
                <c:pt idx="9">
                  <c:v>4-I.</c:v>
                </c:pt>
                <c:pt idx="10">
                  <c:v>5-I.</c:v>
                </c:pt>
                <c:pt idx="11">
                  <c:v>6-I.</c:v>
                </c:pt>
                <c:pt idx="12">
                  <c:v>7-I.</c:v>
                </c:pt>
                <c:pt idx="13">
                  <c:v>8-I.</c:v>
                </c:pt>
                <c:pt idx="14">
                  <c:v>9-I.</c:v>
                </c:pt>
                <c:pt idx="15">
                  <c:v>10-I.</c:v>
                </c:pt>
                <c:pt idx="16">
                  <c:v>11-I.</c:v>
                </c:pt>
                <c:pt idx="17">
                  <c:v>12-I.</c:v>
                </c:pt>
                <c:pt idx="18">
                  <c:v>13-I.</c:v>
                </c:pt>
                <c:pt idx="19">
                  <c:v>14-I.</c:v>
                </c:pt>
                <c:pt idx="20">
                  <c:v>15-I.</c:v>
                </c:pt>
                <c:pt idx="21">
                  <c:v>16-I.</c:v>
                </c:pt>
                <c:pt idx="22">
                  <c:v>17-I.</c:v>
                </c:pt>
                <c:pt idx="23">
                  <c:v>18-I.</c:v>
                </c:pt>
                <c:pt idx="24">
                  <c:v>19-I.</c:v>
                </c:pt>
                <c:pt idx="25">
                  <c:v>20-I.</c:v>
                </c:pt>
                <c:pt idx="26">
                  <c:v>21-I.</c:v>
                </c:pt>
                <c:pt idx="27">
                  <c:v>22-I.</c:v>
                </c:pt>
                <c:pt idx="28">
                  <c:v>23-I.</c:v>
                </c:pt>
                <c:pt idx="29">
                  <c:v>24-I.</c:v>
                </c:pt>
                <c:pt idx="30">
                  <c:v>25-I.</c:v>
                </c:pt>
                <c:pt idx="31">
                  <c:v>26-I.</c:v>
                </c:pt>
                <c:pt idx="32">
                  <c:v>27-I.</c:v>
                </c:pt>
                <c:pt idx="33">
                  <c:v>28-I.</c:v>
                </c:pt>
                <c:pt idx="34">
                  <c:v>29-I.</c:v>
                </c:pt>
                <c:pt idx="35">
                  <c:v>30-I.</c:v>
                </c:pt>
                <c:pt idx="36">
                  <c:v>31-I.</c:v>
                </c:pt>
                <c:pt idx="37">
                  <c:v>1-II.</c:v>
                </c:pt>
                <c:pt idx="38">
                  <c:v>2-II.</c:v>
                </c:pt>
                <c:pt idx="39">
                  <c:v>3-II.</c:v>
                </c:pt>
                <c:pt idx="40">
                  <c:v>4-II.</c:v>
                </c:pt>
                <c:pt idx="41">
                  <c:v>5-II.</c:v>
                </c:pt>
                <c:pt idx="42">
                  <c:v>6-II.</c:v>
                </c:pt>
                <c:pt idx="43">
                  <c:v>7-II.</c:v>
                </c:pt>
                <c:pt idx="44">
                  <c:v>8-II.</c:v>
                </c:pt>
                <c:pt idx="45">
                  <c:v>9-II.</c:v>
                </c:pt>
                <c:pt idx="46">
                  <c:v>10-II.</c:v>
                </c:pt>
                <c:pt idx="47">
                  <c:v>11-II.</c:v>
                </c:pt>
                <c:pt idx="48">
                  <c:v>12-II.</c:v>
                </c:pt>
                <c:pt idx="49">
                  <c:v>13-II.</c:v>
                </c:pt>
                <c:pt idx="50">
                  <c:v>14-II.</c:v>
                </c:pt>
                <c:pt idx="51">
                  <c:v>15-II.</c:v>
                </c:pt>
                <c:pt idx="52">
                  <c:v>16-II.</c:v>
                </c:pt>
                <c:pt idx="53">
                  <c:v>17-II.</c:v>
                </c:pt>
                <c:pt idx="54">
                  <c:v>18-II.</c:v>
                </c:pt>
                <c:pt idx="55">
                  <c:v>19-II.</c:v>
                </c:pt>
                <c:pt idx="56">
                  <c:v>20-II.</c:v>
                </c:pt>
                <c:pt idx="57">
                  <c:v>21-II.</c:v>
                </c:pt>
                <c:pt idx="58">
                  <c:v>22-II.</c:v>
                </c:pt>
                <c:pt idx="59">
                  <c:v>23-II.</c:v>
                </c:pt>
                <c:pt idx="60">
                  <c:v>24-II.</c:v>
                </c:pt>
                <c:pt idx="61">
                  <c:v>25-II.</c:v>
                </c:pt>
                <c:pt idx="62">
                  <c:v>26-II.</c:v>
                </c:pt>
                <c:pt idx="63">
                  <c:v>27-II.</c:v>
                </c:pt>
                <c:pt idx="64">
                  <c:v>28-II.</c:v>
                </c:pt>
                <c:pt idx="65">
                  <c:v>1-III.</c:v>
                </c:pt>
                <c:pt idx="66">
                  <c:v>2-III.</c:v>
                </c:pt>
                <c:pt idx="67">
                  <c:v>3-III.</c:v>
                </c:pt>
                <c:pt idx="68">
                  <c:v>4-III.</c:v>
                </c:pt>
                <c:pt idx="69">
                  <c:v>5-III.</c:v>
                </c:pt>
                <c:pt idx="70">
                  <c:v>6-III.</c:v>
                </c:pt>
                <c:pt idx="71">
                  <c:v>7-III.</c:v>
                </c:pt>
                <c:pt idx="72">
                  <c:v>8-III.</c:v>
                </c:pt>
                <c:pt idx="73">
                  <c:v>9-III.</c:v>
                </c:pt>
                <c:pt idx="74">
                  <c:v>10-III.</c:v>
                </c:pt>
                <c:pt idx="75">
                  <c:v>11-III.</c:v>
                </c:pt>
                <c:pt idx="76">
                  <c:v>12-III.</c:v>
                </c:pt>
                <c:pt idx="77">
                  <c:v>13-III.</c:v>
                </c:pt>
                <c:pt idx="78">
                  <c:v>14-III.</c:v>
                </c:pt>
                <c:pt idx="79">
                  <c:v>15-III.</c:v>
                </c:pt>
                <c:pt idx="80">
                  <c:v>16-III.</c:v>
                </c:pt>
                <c:pt idx="81">
                  <c:v>17-III.</c:v>
                </c:pt>
                <c:pt idx="82">
                  <c:v>18-III.</c:v>
                </c:pt>
                <c:pt idx="83">
                  <c:v>19-III.</c:v>
                </c:pt>
                <c:pt idx="84">
                  <c:v>20-III.</c:v>
                </c:pt>
                <c:pt idx="85">
                  <c:v>21-III.</c:v>
                </c:pt>
                <c:pt idx="86">
                  <c:v>22-III.</c:v>
                </c:pt>
                <c:pt idx="87">
                  <c:v>23-III.</c:v>
                </c:pt>
                <c:pt idx="88">
                  <c:v>24-III.</c:v>
                </c:pt>
                <c:pt idx="89">
                  <c:v>25-III.</c:v>
                </c:pt>
                <c:pt idx="90">
                  <c:v>26-III.</c:v>
                </c:pt>
                <c:pt idx="91">
                  <c:v>27-III.</c:v>
                </c:pt>
                <c:pt idx="92">
                  <c:v>28-III.</c:v>
                </c:pt>
                <c:pt idx="93">
                  <c:v>29-III.</c:v>
                </c:pt>
                <c:pt idx="94">
                  <c:v>30-III.</c:v>
                </c:pt>
                <c:pt idx="95">
                  <c:v>31-III.</c:v>
                </c:pt>
                <c:pt idx="96">
                  <c:v>1-IV.</c:v>
                </c:pt>
                <c:pt idx="97">
                  <c:v>2-IV.</c:v>
                </c:pt>
                <c:pt idx="98">
                  <c:v>3-IV.</c:v>
                </c:pt>
                <c:pt idx="99">
                  <c:v>4-IV.</c:v>
                </c:pt>
                <c:pt idx="100">
                  <c:v>5-IV.</c:v>
                </c:pt>
                <c:pt idx="101">
                  <c:v>6-IV.</c:v>
                </c:pt>
                <c:pt idx="102">
                  <c:v>7-IV.</c:v>
                </c:pt>
                <c:pt idx="103">
                  <c:v>8-IV.</c:v>
                </c:pt>
                <c:pt idx="104">
                  <c:v>9-IV.</c:v>
                </c:pt>
                <c:pt idx="105">
                  <c:v>10-IV.</c:v>
                </c:pt>
                <c:pt idx="106">
                  <c:v>11-IV.</c:v>
                </c:pt>
                <c:pt idx="107">
                  <c:v>12-IV.</c:v>
                </c:pt>
                <c:pt idx="108">
                  <c:v>13-IV.</c:v>
                </c:pt>
                <c:pt idx="109">
                  <c:v>14-IV.</c:v>
                </c:pt>
                <c:pt idx="110">
                  <c:v>15-IV.</c:v>
                </c:pt>
                <c:pt idx="111">
                  <c:v>16-IV.</c:v>
                </c:pt>
                <c:pt idx="112">
                  <c:v>17-IV.</c:v>
                </c:pt>
                <c:pt idx="113">
                  <c:v>18-IV.</c:v>
                </c:pt>
                <c:pt idx="114">
                  <c:v>19-IV.</c:v>
                </c:pt>
                <c:pt idx="115">
                  <c:v>20-IV.</c:v>
                </c:pt>
                <c:pt idx="116">
                  <c:v>21-IV.</c:v>
                </c:pt>
                <c:pt idx="117">
                  <c:v>22-IV.</c:v>
                </c:pt>
                <c:pt idx="118">
                  <c:v>23-IV.</c:v>
                </c:pt>
                <c:pt idx="119">
                  <c:v>24-IV.</c:v>
                </c:pt>
                <c:pt idx="120">
                  <c:v>25-IV.</c:v>
                </c:pt>
                <c:pt idx="121">
                  <c:v>26-IV.</c:v>
                </c:pt>
                <c:pt idx="122">
                  <c:v>27-IV.</c:v>
                </c:pt>
                <c:pt idx="123">
                  <c:v>28-IV.</c:v>
                </c:pt>
                <c:pt idx="124">
                  <c:v>29-IV.</c:v>
                </c:pt>
                <c:pt idx="125">
                  <c:v>30-IV.</c:v>
                </c:pt>
                <c:pt idx="126">
                  <c:v>1-V.</c:v>
                </c:pt>
                <c:pt idx="127">
                  <c:v>2-V.</c:v>
                </c:pt>
                <c:pt idx="128">
                  <c:v>3-V.</c:v>
                </c:pt>
                <c:pt idx="129">
                  <c:v>4-V.</c:v>
                </c:pt>
                <c:pt idx="130">
                  <c:v>5-V.</c:v>
                </c:pt>
                <c:pt idx="131">
                  <c:v>6-V.</c:v>
                </c:pt>
                <c:pt idx="132">
                  <c:v>7-V.</c:v>
                </c:pt>
                <c:pt idx="133">
                  <c:v>8-V.</c:v>
                </c:pt>
                <c:pt idx="134">
                  <c:v>9-V.</c:v>
                </c:pt>
                <c:pt idx="135">
                  <c:v>10-V.</c:v>
                </c:pt>
                <c:pt idx="136">
                  <c:v>11-V.</c:v>
                </c:pt>
                <c:pt idx="137">
                  <c:v>12-V.</c:v>
                </c:pt>
                <c:pt idx="138">
                  <c:v>13-V.</c:v>
                </c:pt>
                <c:pt idx="139">
                  <c:v>14-V.</c:v>
                </c:pt>
                <c:pt idx="140">
                  <c:v>15-V.</c:v>
                </c:pt>
                <c:pt idx="141">
                  <c:v>16-V.</c:v>
                </c:pt>
                <c:pt idx="142">
                  <c:v>17-V.</c:v>
                </c:pt>
                <c:pt idx="143">
                  <c:v>18-V.</c:v>
                </c:pt>
                <c:pt idx="144">
                  <c:v>19-V.</c:v>
                </c:pt>
                <c:pt idx="145">
                  <c:v>20-V.</c:v>
                </c:pt>
                <c:pt idx="146">
                  <c:v>21-V.</c:v>
                </c:pt>
                <c:pt idx="147">
                  <c:v>22-V.</c:v>
                </c:pt>
                <c:pt idx="148">
                  <c:v>23-V.</c:v>
                </c:pt>
                <c:pt idx="149">
                  <c:v>24-V.</c:v>
                </c:pt>
                <c:pt idx="150">
                  <c:v>25-V.</c:v>
                </c:pt>
                <c:pt idx="151">
                  <c:v>26-V.</c:v>
                </c:pt>
                <c:pt idx="152">
                  <c:v>27-V.</c:v>
                </c:pt>
                <c:pt idx="153">
                  <c:v>28-V.</c:v>
                </c:pt>
                <c:pt idx="154">
                  <c:v>29-V.</c:v>
                </c:pt>
                <c:pt idx="155">
                  <c:v>30-V.</c:v>
                </c:pt>
                <c:pt idx="156">
                  <c:v>31-V.</c:v>
                </c:pt>
                <c:pt idx="157">
                  <c:v>1-VI.</c:v>
                </c:pt>
                <c:pt idx="158">
                  <c:v>2-VI.</c:v>
                </c:pt>
                <c:pt idx="159">
                  <c:v>3-VI.</c:v>
                </c:pt>
                <c:pt idx="160">
                  <c:v>4-VI.</c:v>
                </c:pt>
                <c:pt idx="161">
                  <c:v>5-VI.</c:v>
                </c:pt>
                <c:pt idx="162">
                  <c:v>6-VI.</c:v>
                </c:pt>
                <c:pt idx="163">
                  <c:v>7-VI.</c:v>
                </c:pt>
                <c:pt idx="164">
                  <c:v>8-VI.</c:v>
                </c:pt>
                <c:pt idx="165">
                  <c:v>9-VI.</c:v>
                </c:pt>
                <c:pt idx="166">
                  <c:v>10-VI.</c:v>
                </c:pt>
                <c:pt idx="167">
                  <c:v>11-VI.</c:v>
                </c:pt>
                <c:pt idx="168">
                  <c:v>12-VI.</c:v>
                </c:pt>
                <c:pt idx="169">
                  <c:v>13-VI.</c:v>
                </c:pt>
                <c:pt idx="170">
                  <c:v>14-VI.</c:v>
                </c:pt>
                <c:pt idx="171">
                  <c:v>15-VI.</c:v>
                </c:pt>
                <c:pt idx="172">
                  <c:v>16-VI.</c:v>
                </c:pt>
                <c:pt idx="173">
                  <c:v>17-VI.</c:v>
                </c:pt>
                <c:pt idx="174">
                  <c:v>18-VI.</c:v>
                </c:pt>
                <c:pt idx="175">
                  <c:v>19-VI.</c:v>
                </c:pt>
                <c:pt idx="176">
                  <c:v>20-VI.</c:v>
                </c:pt>
                <c:pt idx="177">
                  <c:v>21-VI.</c:v>
                </c:pt>
                <c:pt idx="178">
                  <c:v>22-VI.</c:v>
                </c:pt>
                <c:pt idx="179">
                  <c:v>23-VI.</c:v>
                </c:pt>
                <c:pt idx="180">
                  <c:v>24-VI.</c:v>
                </c:pt>
                <c:pt idx="181">
                  <c:v>25-VI.</c:v>
                </c:pt>
                <c:pt idx="182">
                  <c:v>26-VI.</c:v>
                </c:pt>
                <c:pt idx="183">
                  <c:v>27-VI.</c:v>
                </c:pt>
                <c:pt idx="184">
                  <c:v>28-VI.</c:v>
                </c:pt>
                <c:pt idx="185">
                  <c:v>29-VI.</c:v>
                </c:pt>
                <c:pt idx="186">
                  <c:v>30-VI.</c:v>
                </c:pt>
                <c:pt idx="187">
                  <c:v>1-VII.</c:v>
                </c:pt>
                <c:pt idx="188">
                  <c:v>2-VII.</c:v>
                </c:pt>
                <c:pt idx="189">
                  <c:v>3-VII.</c:v>
                </c:pt>
                <c:pt idx="190">
                  <c:v>4-VII.</c:v>
                </c:pt>
                <c:pt idx="191">
                  <c:v>5-VII.</c:v>
                </c:pt>
                <c:pt idx="192">
                  <c:v>6-VII.</c:v>
                </c:pt>
                <c:pt idx="193">
                  <c:v>7-VII.</c:v>
                </c:pt>
                <c:pt idx="194">
                  <c:v>8-VII.</c:v>
                </c:pt>
                <c:pt idx="195">
                  <c:v>9-VII.</c:v>
                </c:pt>
                <c:pt idx="196">
                  <c:v>10-VII.</c:v>
                </c:pt>
                <c:pt idx="197">
                  <c:v>11-VII.</c:v>
                </c:pt>
                <c:pt idx="198">
                  <c:v>12-VII.</c:v>
                </c:pt>
                <c:pt idx="199">
                  <c:v>13-VII.</c:v>
                </c:pt>
                <c:pt idx="200">
                  <c:v>14-VII.</c:v>
                </c:pt>
                <c:pt idx="201">
                  <c:v>15-VII.</c:v>
                </c:pt>
                <c:pt idx="202">
                  <c:v>16-VII.</c:v>
                </c:pt>
                <c:pt idx="203">
                  <c:v>17-VII.</c:v>
                </c:pt>
                <c:pt idx="204">
                  <c:v>18-VII.</c:v>
                </c:pt>
                <c:pt idx="205">
                  <c:v>19-VII.</c:v>
                </c:pt>
                <c:pt idx="206">
                  <c:v>20-VII.</c:v>
                </c:pt>
                <c:pt idx="207">
                  <c:v>21-VII.</c:v>
                </c:pt>
                <c:pt idx="208">
                  <c:v>22-VII.</c:v>
                </c:pt>
                <c:pt idx="209">
                  <c:v>23-VII.</c:v>
                </c:pt>
                <c:pt idx="210">
                  <c:v>24-VII.</c:v>
                </c:pt>
                <c:pt idx="211">
                  <c:v>25-VII.</c:v>
                </c:pt>
                <c:pt idx="212">
                  <c:v>26-VII.</c:v>
                </c:pt>
                <c:pt idx="213">
                  <c:v>27-VII.</c:v>
                </c:pt>
                <c:pt idx="214">
                  <c:v>28-VII.</c:v>
                </c:pt>
                <c:pt idx="215">
                  <c:v>29-VII.</c:v>
                </c:pt>
                <c:pt idx="216">
                  <c:v>30-VII.</c:v>
                </c:pt>
                <c:pt idx="217">
                  <c:v>31-VII.</c:v>
                </c:pt>
                <c:pt idx="218">
                  <c:v>1-VIII.</c:v>
                </c:pt>
                <c:pt idx="219">
                  <c:v>2-VIII.</c:v>
                </c:pt>
                <c:pt idx="220">
                  <c:v>3-VIII.</c:v>
                </c:pt>
                <c:pt idx="221">
                  <c:v>4-VIII.</c:v>
                </c:pt>
                <c:pt idx="222">
                  <c:v>5-VIII.</c:v>
                </c:pt>
                <c:pt idx="223">
                  <c:v>6-VIII.</c:v>
                </c:pt>
                <c:pt idx="224">
                  <c:v>7-VIII.</c:v>
                </c:pt>
                <c:pt idx="225">
                  <c:v>8-VIII.</c:v>
                </c:pt>
                <c:pt idx="226">
                  <c:v>9-VIII.</c:v>
                </c:pt>
                <c:pt idx="227">
                  <c:v>10-VIII.</c:v>
                </c:pt>
                <c:pt idx="228">
                  <c:v>11-VIII.</c:v>
                </c:pt>
                <c:pt idx="229">
                  <c:v>12-VIII.</c:v>
                </c:pt>
                <c:pt idx="230">
                  <c:v>13-VIII.</c:v>
                </c:pt>
                <c:pt idx="231">
                  <c:v>14-VIII.</c:v>
                </c:pt>
                <c:pt idx="232">
                  <c:v>15-VIII.</c:v>
                </c:pt>
                <c:pt idx="233">
                  <c:v>16-VIII.</c:v>
                </c:pt>
                <c:pt idx="234">
                  <c:v>17-VIII.</c:v>
                </c:pt>
                <c:pt idx="235">
                  <c:v>18-VIII.</c:v>
                </c:pt>
                <c:pt idx="236">
                  <c:v>19-VIII.</c:v>
                </c:pt>
                <c:pt idx="237">
                  <c:v>20-VIII.</c:v>
                </c:pt>
                <c:pt idx="238">
                  <c:v>21-VIII.</c:v>
                </c:pt>
                <c:pt idx="239">
                  <c:v>22-VIII.</c:v>
                </c:pt>
                <c:pt idx="240">
                  <c:v>23-VIII.</c:v>
                </c:pt>
                <c:pt idx="241">
                  <c:v>24-VIII.</c:v>
                </c:pt>
                <c:pt idx="242">
                  <c:v>25-VIII.</c:v>
                </c:pt>
                <c:pt idx="243">
                  <c:v>26-VIII.</c:v>
                </c:pt>
                <c:pt idx="244">
                  <c:v>27-VIII.</c:v>
                </c:pt>
                <c:pt idx="245">
                  <c:v>28-VIII.</c:v>
                </c:pt>
                <c:pt idx="246">
                  <c:v>29-VIII.</c:v>
                </c:pt>
                <c:pt idx="247">
                  <c:v>30-VIII.</c:v>
                </c:pt>
                <c:pt idx="248">
                  <c:v>31-VIII.</c:v>
                </c:pt>
                <c:pt idx="249">
                  <c:v>1-IX.</c:v>
                </c:pt>
                <c:pt idx="250">
                  <c:v>2-IX.</c:v>
                </c:pt>
                <c:pt idx="251">
                  <c:v>3-IX.</c:v>
                </c:pt>
                <c:pt idx="252">
                  <c:v>4-IX.</c:v>
                </c:pt>
                <c:pt idx="253">
                  <c:v>5-IX.</c:v>
                </c:pt>
                <c:pt idx="254">
                  <c:v>6-IX.</c:v>
                </c:pt>
                <c:pt idx="255">
                  <c:v>7-IX.</c:v>
                </c:pt>
                <c:pt idx="256">
                  <c:v>8-IX.</c:v>
                </c:pt>
                <c:pt idx="257">
                  <c:v>9-IX.</c:v>
                </c:pt>
                <c:pt idx="258">
                  <c:v>10-IX.</c:v>
                </c:pt>
                <c:pt idx="259">
                  <c:v>11-IX.</c:v>
                </c:pt>
                <c:pt idx="260">
                  <c:v>12-IX.</c:v>
                </c:pt>
                <c:pt idx="261">
                  <c:v>13-IX.</c:v>
                </c:pt>
                <c:pt idx="262">
                  <c:v>14-IX.</c:v>
                </c:pt>
                <c:pt idx="263">
                  <c:v>15-IX.</c:v>
                </c:pt>
                <c:pt idx="264">
                  <c:v>16-IX.</c:v>
                </c:pt>
                <c:pt idx="265">
                  <c:v>17-IX.</c:v>
                </c:pt>
                <c:pt idx="266">
                  <c:v>18-IX.</c:v>
                </c:pt>
                <c:pt idx="267">
                  <c:v>19-IX.</c:v>
                </c:pt>
                <c:pt idx="268">
                  <c:v>20-IX.</c:v>
                </c:pt>
                <c:pt idx="269">
                  <c:v>21-IX.</c:v>
                </c:pt>
                <c:pt idx="270">
                  <c:v>22-IX.</c:v>
                </c:pt>
                <c:pt idx="271">
                  <c:v>23-IX.</c:v>
                </c:pt>
                <c:pt idx="272">
                  <c:v>24-IX.</c:v>
                </c:pt>
                <c:pt idx="273">
                  <c:v>25-IX.</c:v>
                </c:pt>
                <c:pt idx="274">
                  <c:v>26-IX.</c:v>
                </c:pt>
                <c:pt idx="275">
                  <c:v>27-IX.</c:v>
                </c:pt>
                <c:pt idx="276">
                  <c:v>28-IX.</c:v>
                </c:pt>
                <c:pt idx="277">
                  <c:v>29-IX.</c:v>
                </c:pt>
                <c:pt idx="278">
                  <c:v>30-IX.</c:v>
                </c:pt>
                <c:pt idx="279">
                  <c:v>1-X.</c:v>
                </c:pt>
                <c:pt idx="280">
                  <c:v>2-X.</c:v>
                </c:pt>
                <c:pt idx="281">
                  <c:v>3-X.</c:v>
                </c:pt>
                <c:pt idx="282">
                  <c:v>4-X.</c:v>
                </c:pt>
                <c:pt idx="283">
                  <c:v>5-X.</c:v>
                </c:pt>
                <c:pt idx="284">
                  <c:v>6-X.</c:v>
                </c:pt>
                <c:pt idx="285">
                  <c:v>7-X.</c:v>
                </c:pt>
                <c:pt idx="286">
                  <c:v>8-X.</c:v>
                </c:pt>
                <c:pt idx="287">
                  <c:v>9-X.</c:v>
                </c:pt>
              </c:strCache>
            </c:strRef>
          </c:cat>
          <c:val>
            <c:numRef>
              <c:f>List1!$B$3:$KC$3</c:f>
              <c:numCache>
                <c:formatCode>General</c:formatCode>
                <c:ptCount val="288"/>
                <c:pt idx="1">
                  <c:v>411</c:v>
                </c:pt>
                <c:pt idx="2">
                  <c:v>1126</c:v>
                </c:pt>
                <c:pt idx="3">
                  <c:v>2237</c:v>
                </c:pt>
                <c:pt idx="4">
                  <c:v>3375</c:v>
                </c:pt>
                <c:pt idx="5">
                  <c:v>3755</c:v>
                </c:pt>
                <c:pt idx="6">
                  <c:v>3871</c:v>
                </c:pt>
                <c:pt idx="7">
                  <c:v>4354</c:v>
                </c:pt>
                <c:pt idx="8">
                  <c:v>4674</c:v>
                </c:pt>
                <c:pt idx="9">
                  <c:v>6023</c:v>
                </c:pt>
                <c:pt idx="10">
                  <c:v>7666</c:v>
                </c:pt>
                <c:pt idx="11">
                  <c:v>9682</c:v>
                </c:pt>
                <c:pt idx="12">
                  <c:v>12233</c:v>
                </c:pt>
                <c:pt idx="13">
                  <c:v>15366</c:v>
                </c:pt>
                <c:pt idx="14">
                  <c:v>15812</c:v>
                </c:pt>
                <c:pt idx="15">
                  <c:v>16167</c:v>
                </c:pt>
                <c:pt idx="16">
                  <c:v>18971</c:v>
                </c:pt>
                <c:pt idx="17">
                  <c:v>22163</c:v>
                </c:pt>
                <c:pt idx="18">
                  <c:v>25022</c:v>
                </c:pt>
                <c:pt idx="19">
                  <c:v>28208</c:v>
                </c:pt>
                <c:pt idx="20">
                  <c:v>30993</c:v>
                </c:pt>
                <c:pt idx="21">
                  <c:v>31376</c:v>
                </c:pt>
                <c:pt idx="22">
                  <c:v>31602</c:v>
                </c:pt>
                <c:pt idx="23">
                  <c:v>33558</c:v>
                </c:pt>
                <c:pt idx="24">
                  <c:v>35244</c:v>
                </c:pt>
                <c:pt idx="25">
                  <c:v>36890</c:v>
                </c:pt>
                <c:pt idx="26">
                  <c:v>38423</c:v>
                </c:pt>
                <c:pt idx="27">
                  <c:v>39732</c:v>
                </c:pt>
                <c:pt idx="28">
                  <c:v>39889</c:v>
                </c:pt>
                <c:pt idx="29">
                  <c:v>39998</c:v>
                </c:pt>
                <c:pt idx="30">
                  <c:v>40644</c:v>
                </c:pt>
                <c:pt idx="31">
                  <c:v>41416</c:v>
                </c:pt>
                <c:pt idx="32">
                  <c:v>42065</c:v>
                </c:pt>
                <c:pt idx="33">
                  <c:v>42670</c:v>
                </c:pt>
                <c:pt idx="34">
                  <c:v>43232</c:v>
                </c:pt>
                <c:pt idx="35">
                  <c:v>43255</c:v>
                </c:pt>
                <c:pt idx="36">
                  <c:v>43272</c:v>
                </c:pt>
                <c:pt idx="37">
                  <c:v>43626</c:v>
                </c:pt>
                <c:pt idx="38">
                  <c:v>43968</c:v>
                </c:pt>
                <c:pt idx="39">
                  <c:v>44330</c:v>
                </c:pt>
                <c:pt idx="40">
                  <c:v>44662</c:v>
                </c:pt>
                <c:pt idx="41">
                  <c:v>45080</c:v>
                </c:pt>
                <c:pt idx="42">
                  <c:v>45102</c:v>
                </c:pt>
                <c:pt idx="43">
                  <c:v>45121</c:v>
                </c:pt>
                <c:pt idx="44">
                  <c:v>45390</c:v>
                </c:pt>
                <c:pt idx="45">
                  <c:v>45711</c:v>
                </c:pt>
                <c:pt idx="46">
                  <c:v>46116</c:v>
                </c:pt>
                <c:pt idx="47">
                  <c:v>46588</c:v>
                </c:pt>
                <c:pt idx="48">
                  <c:v>47118</c:v>
                </c:pt>
                <c:pt idx="49">
                  <c:v>47291</c:v>
                </c:pt>
                <c:pt idx="50">
                  <c:v>47345</c:v>
                </c:pt>
                <c:pt idx="51">
                  <c:v>47894</c:v>
                </c:pt>
                <c:pt idx="52">
                  <c:v>48383</c:v>
                </c:pt>
                <c:pt idx="53">
                  <c:v>48954</c:v>
                </c:pt>
                <c:pt idx="54">
                  <c:v>49623</c:v>
                </c:pt>
                <c:pt idx="55">
                  <c:v>50377</c:v>
                </c:pt>
                <c:pt idx="56">
                  <c:v>50504</c:v>
                </c:pt>
                <c:pt idx="57">
                  <c:v>50562</c:v>
                </c:pt>
                <c:pt idx="58">
                  <c:v>51159</c:v>
                </c:pt>
                <c:pt idx="59">
                  <c:v>51974</c:v>
                </c:pt>
                <c:pt idx="60">
                  <c:v>52795</c:v>
                </c:pt>
                <c:pt idx="61">
                  <c:v>54023</c:v>
                </c:pt>
                <c:pt idx="62">
                  <c:v>55014</c:v>
                </c:pt>
                <c:pt idx="63">
                  <c:v>55090</c:v>
                </c:pt>
                <c:pt idx="64">
                  <c:v>55137</c:v>
                </c:pt>
                <c:pt idx="65">
                  <c:v>56026</c:v>
                </c:pt>
                <c:pt idx="66">
                  <c:v>56978</c:v>
                </c:pt>
                <c:pt idx="67">
                  <c:v>57965</c:v>
                </c:pt>
                <c:pt idx="68">
                  <c:v>58872</c:v>
                </c:pt>
                <c:pt idx="69">
                  <c:v>60058</c:v>
                </c:pt>
                <c:pt idx="70">
                  <c:v>60306</c:v>
                </c:pt>
                <c:pt idx="71">
                  <c:v>60494</c:v>
                </c:pt>
                <c:pt idx="72">
                  <c:v>61271</c:v>
                </c:pt>
                <c:pt idx="73">
                  <c:v>62190</c:v>
                </c:pt>
                <c:pt idx="74">
                  <c:v>63136</c:v>
                </c:pt>
                <c:pt idx="75">
                  <c:v>64462</c:v>
                </c:pt>
                <c:pt idx="76">
                  <c:v>65561</c:v>
                </c:pt>
                <c:pt idx="77">
                  <c:v>65795</c:v>
                </c:pt>
                <c:pt idx="78">
                  <c:v>66037</c:v>
                </c:pt>
                <c:pt idx="79">
                  <c:v>66738</c:v>
                </c:pt>
                <c:pt idx="80">
                  <c:v>67777</c:v>
                </c:pt>
                <c:pt idx="81">
                  <c:v>68797</c:v>
                </c:pt>
                <c:pt idx="82">
                  <c:v>69685</c:v>
                </c:pt>
                <c:pt idx="83">
                  <c:v>70659</c:v>
                </c:pt>
                <c:pt idx="84">
                  <c:v>71017</c:v>
                </c:pt>
                <c:pt idx="85">
                  <c:v>71189</c:v>
                </c:pt>
                <c:pt idx="86">
                  <c:v>71717</c:v>
                </c:pt>
                <c:pt idx="87">
                  <c:v>72270</c:v>
                </c:pt>
                <c:pt idx="88">
                  <c:v>72773</c:v>
                </c:pt>
                <c:pt idx="89">
                  <c:v>73330</c:v>
                </c:pt>
                <c:pt idx="90">
                  <c:v>73909</c:v>
                </c:pt>
                <c:pt idx="91">
                  <c:v>74061</c:v>
                </c:pt>
                <c:pt idx="92">
                  <c:v>74228</c:v>
                </c:pt>
                <c:pt idx="93">
                  <c:v>74576</c:v>
                </c:pt>
                <c:pt idx="94">
                  <c:v>75023</c:v>
                </c:pt>
                <c:pt idx="95">
                  <c:v>75492</c:v>
                </c:pt>
                <c:pt idx="96">
                  <c:v>75945</c:v>
                </c:pt>
                <c:pt idx="97">
                  <c:v>76050</c:v>
                </c:pt>
                <c:pt idx="98">
                  <c:v>76092</c:v>
                </c:pt>
                <c:pt idx="99">
                  <c:v>76141</c:v>
                </c:pt>
                <c:pt idx="100">
                  <c:v>76176</c:v>
                </c:pt>
                <c:pt idx="101">
                  <c:v>76430</c:v>
                </c:pt>
                <c:pt idx="102">
                  <c:v>76747</c:v>
                </c:pt>
                <c:pt idx="103">
                  <c:v>77284</c:v>
                </c:pt>
                <c:pt idx="104">
                  <c:v>77855</c:v>
                </c:pt>
                <c:pt idx="105">
                  <c:v>78013</c:v>
                </c:pt>
                <c:pt idx="106">
                  <c:v>78113</c:v>
                </c:pt>
                <c:pt idx="107">
                  <c:v>78538</c:v>
                </c:pt>
                <c:pt idx="108">
                  <c:v>78914</c:v>
                </c:pt>
                <c:pt idx="109">
                  <c:v>79367</c:v>
                </c:pt>
                <c:pt idx="110">
                  <c:v>80021</c:v>
                </c:pt>
                <c:pt idx="111">
                  <c:v>80747</c:v>
                </c:pt>
                <c:pt idx="112">
                  <c:v>80949</c:v>
                </c:pt>
                <c:pt idx="113">
                  <c:v>81140</c:v>
                </c:pt>
                <c:pt idx="114">
                  <c:v>81658</c:v>
                </c:pt>
                <c:pt idx="115">
                  <c:v>82160</c:v>
                </c:pt>
                <c:pt idx="116">
                  <c:v>82822</c:v>
                </c:pt>
                <c:pt idx="117">
                  <c:v>83544</c:v>
                </c:pt>
                <c:pt idx="118">
                  <c:v>84256</c:v>
                </c:pt>
                <c:pt idx="119">
                  <c:v>84456</c:v>
                </c:pt>
                <c:pt idx="120">
                  <c:v>84643</c:v>
                </c:pt>
                <c:pt idx="121">
                  <c:v>85251</c:v>
                </c:pt>
                <c:pt idx="122">
                  <c:v>85800</c:v>
                </c:pt>
                <c:pt idx="123">
                  <c:v>86502</c:v>
                </c:pt>
                <c:pt idx="124">
                  <c:v>87261</c:v>
                </c:pt>
                <c:pt idx="125">
                  <c:v>87905</c:v>
                </c:pt>
                <c:pt idx="126">
                  <c:v>88059</c:v>
                </c:pt>
                <c:pt idx="127">
                  <c:v>88212</c:v>
                </c:pt>
                <c:pt idx="128">
                  <c:v>88718</c:v>
                </c:pt>
                <c:pt idx="129">
                  <c:v>89239</c:v>
                </c:pt>
                <c:pt idx="130">
                  <c:v>89763</c:v>
                </c:pt>
                <c:pt idx="131">
                  <c:v>90311</c:v>
                </c:pt>
                <c:pt idx="132">
                  <c:v>90879</c:v>
                </c:pt>
                <c:pt idx="133">
                  <c:v>91096</c:v>
                </c:pt>
                <c:pt idx="134">
                  <c:v>91203</c:v>
                </c:pt>
                <c:pt idx="135">
                  <c:v>91600</c:v>
                </c:pt>
                <c:pt idx="136">
                  <c:v>92073</c:v>
                </c:pt>
                <c:pt idx="137">
                  <c:v>92504</c:v>
                </c:pt>
                <c:pt idx="138">
                  <c:v>92939</c:v>
                </c:pt>
                <c:pt idx="139">
                  <c:v>93304</c:v>
                </c:pt>
                <c:pt idx="140">
                  <c:v>93463</c:v>
                </c:pt>
                <c:pt idx="141">
                  <c:v>93567</c:v>
                </c:pt>
                <c:pt idx="142">
                  <c:v>93884</c:v>
                </c:pt>
                <c:pt idx="143">
                  <c:v>94255</c:v>
                </c:pt>
                <c:pt idx="144">
                  <c:v>94614</c:v>
                </c:pt>
                <c:pt idx="145">
                  <c:v>95002</c:v>
                </c:pt>
                <c:pt idx="146">
                  <c:v>95362</c:v>
                </c:pt>
                <c:pt idx="147">
                  <c:v>95507</c:v>
                </c:pt>
                <c:pt idx="148">
                  <c:v>95605</c:v>
                </c:pt>
                <c:pt idx="149">
                  <c:v>95816</c:v>
                </c:pt>
                <c:pt idx="150">
                  <c:v>96052</c:v>
                </c:pt>
                <c:pt idx="151">
                  <c:v>96400</c:v>
                </c:pt>
                <c:pt idx="152">
                  <c:v>96730</c:v>
                </c:pt>
                <c:pt idx="153">
                  <c:v>97013</c:v>
                </c:pt>
                <c:pt idx="154">
                  <c:v>97151</c:v>
                </c:pt>
                <c:pt idx="155">
                  <c:v>97241</c:v>
                </c:pt>
                <c:pt idx="156">
                  <c:v>97517</c:v>
                </c:pt>
                <c:pt idx="157">
                  <c:v>97788</c:v>
                </c:pt>
                <c:pt idx="158">
                  <c:v>98130</c:v>
                </c:pt>
                <c:pt idx="159">
                  <c:v>98482</c:v>
                </c:pt>
                <c:pt idx="160">
                  <c:v>98805</c:v>
                </c:pt>
                <c:pt idx="161">
                  <c:v>98941</c:v>
                </c:pt>
                <c:pt idx="162">
                  <c:v>99071</c:v>
                </c:pt>
                <c:pt idx="163">
                  <c:v>99404</c:v>
                </c:pt>
                <c:pt idx="164">
                  <c:v>99742</c:v>
                </c:pt>
                <c:pt idx="165">
                  <c:v>100088</c:v>
                </c:pt>
                <c:pt idx="166">
                  <c:v>100443</c:v>
                </c:pt>
                <c:pt idx="167">
                  <c:v>100743</c:v>
                </c:pt>
                <c:pt idx="168">
                  <c:v>100948</c:v>
                </c:pt>
                <c:pt idx="169">
                  <c:v>101062</c:v>
                </c:pt>
                <c:pt idx="170">
                  <c:v>101303</c:v>
                </c:pt>
                <c:pt idx="171">
                  <c:v>101574</c:v>
                </c:pt>
                <c:pt idx="172">
                  <c:v>101814</c:v>
                </c:pt>
                <c:pt idx="173">
                  <c:v>102076</c:v>
                </c:pt>
                <c:pt idx="174">
                  <c:v>102292</c:v>
                </c:pt>
                <c:pt idx="175">
                  <c:v>102407</c:v>
                </c:pt>
                <c:pt idx="176">
                  <c:v>102499</c:v>
                </c:pt>
                <c:pt idx="177">
                  <c:v>102676</c:v>
                </c:pt>
                <c:pt idx="178">
                  <c:v>102890</c:v>
                </c:pt>
                <c:pt idx="179">
                  <c:v>103074</c:v>
                </c:pt>
                <c:pt idx="180">
                  <c:v>103233</c:v>
                </c:pt>
                <c:pt idx="181">
                  <c:v>103419</c:v>
                </c:pt>
                <c:pt idx="182">
                  <c:v>103510</c:v>
                </c:pt>
                <c:pt idx="183">
                  <c:v>103575</c:v>
                </c:pt>
                <c:pt idx="184">
                  <c:v>103753</c:v>
                </c:pt>
                <c:pt idx="185">
                  <c:v>103916</c:v>
                </c:pt>
                <c:pt idx="186">
                  <c:v>104094</c:v>
                </c:pt>
                <c:pt idx="187">
                  <c:v>104231</c:v>
                </c:pt>
                <c:pt idx="188">
                  <c:v>104425</c:v>
                </c:pt>
                <c:pt idx="189">
                  <c:v>104457</c:v>
                </c:pt>
                <c:pt idx="190">
                  <c:v>104502</c:v>
                </c:pt>
                <c:pt idx="191">
                  <c:v>104550</c:v>
                </c:pt>
                <c:pt idx="192">
                  <c:v>104582</c:v>
                </c:pt>
                <c:pt idx="193">
                  <c:v>104745</c:v>
                </c:pt>
                <c:pt idx="194">
                  <c:v>104920</c:v>
                </c:pt>
                <c:pt idx="195">
                  <c:v>105088</c:v>
                </c:pt>
                <c:pt idx="196">
                  <c:v>105146</c:v>
                </c:pt>
                <c:pt idx="197">
                  <c:v>105195</c:v>
                </c:pt>
                <c:pt idx="198">
                  <c:v>105355</c:v>
                </c:pt>
                <c:pt idx="199">
                  <c:v>105537</c:v>
                </c:pt>
                <c:pt idx="200">
                  <c:v>105741</c:v>
                </c:pt>
                <c:pt idx="201">
                  <c:v>105928</c:v>
                </c:pt>
                <c:pt idx="202">
                  <c:v>106110</c:v>
                </c:pt>
                <c:pt idx="203">
                  <c:v>106160</c:v>
                </c:pt>
                <c:pt idx="204">
                  <c:v>106218</c:v>
                </c:pt>
                <c:pt idx="205">
                  <c:v>106389</c:v>
                </c:pt>
                <c:pt idx="206">
                  <c:v>106538</c:v>
                </c:pt>
                <c:pt idx="207">
                  <c:v>106715</c:v>
                </c:pt>
                <c:pt idx="208">
                  <c:v>106888</c:v>
                </c:pt>
                <c:pt idx="209">
                  <c:v>107033</c:v>
                </c:pt>
                <c:pt idx="210">
                  <c:v>107077</c:v>
                </c:pt>
                <c:pt idx="211">
                  <c:v>107103</c:v>
                </c:pt>
                <c:pt idx="212">
                  <c:v>107269</c:v>
                </c:pt>
                <c:pt idx="213">
                  <c:v>107437</c:v>
                </c:pt>
                <c:pt idx="214">
                  <c:v>107586</c:v>
                </c:pt>
                <c:pt idx="215">
                  <c:v>107733</c:v>
                </c:pt>
                <c:pt idx="216">
                  <c:v>107896</c:v>
                </c:pt>
                <c:pt idx="217">
                  <c:v>107936</c:v>
                </c:pt>
                <c:pt idx="218">
                  <c:v>107975</c:v>
                </c:pt>
                <c:pt idx="219">
                  <c:v>108073</c:v>
                </c:pt>
                <c:pt idx="220">
                  <c:v>108183</c:v>
                </c:pt>
                <c:pt idx="221">
                  <c:v>108310</c:v>
                </c:pt>
                <c:pt idx="222">
                  <c:v>108418</c:v>
                </c:pt>
                <c:pt idx="223">
                  <c:v>108537</c:v>
                </c:pt>
                <c:pt idx="224">
                  <c:v>108559</c:v>
                </c:pt>
                <c:pt idx="225">
                  <c:v>108584</c:v>
                </c:pt>
                <c:pt idx="226">
                  <c:v>108668</c:v>
                </c:pt>
                <c:pt idx="227">
                  <c:v>108747</c:v>
                </c:pt>
                <c:pt idx="228">
                  <c:v>108814</c:v>
                </c:pt>
                <c:pt idx="229">
                  <c:v>108919</c:v>
                </c:pt>
                <c:pt idx="230">
                  <c:v>108982</c:v>
                </c:pt>
                <c:pt idx="231">
                  <c:v>109003</c:v>
                </c:pt>
                <c:pt idx="232">
                  <c:v>109025</c:v>
                </c:pt>
                <c:pt idx="233">
                  <c:v>109111</c:v>
                </c:pt>
                <c:pt idx="234">
                  <c:v>109189</c:v>
                </c:pt>
                <c:pt idx="235">
                  <c:v>109252</c:v>
                </c:pt>
                <c:pt idx="236">
                  <c:v>109321</c:v>
                </c:pt>
                <c:pt idx="237">
                  <c:v>109435</c:v>
                </c:pt>
                <c:pt idx="238">
                  <c:v>109449</c:v>
                </c:pt>
                <c:pt idx="239">
                  <c:v>109460</c:v>
                </c:pt>
                <c:pt idx="240">
                  <c:v>109555</c:v>
                </c:pt>
                <c:pt idx="241">
                  <c:v>109641</c:v>
                </c:pt>
                <c:pt idx="242">
                  <c:v>109706</c:v>
                </c:pt>
                <c:pt idx="243">
                  <c:v>109777</c:v>
                </c:pt>
                <c:pt idx="244">
                  <c:v>109865</c:v>
                </c:pt>
                <c:pt idx="245">
                  <c:v>109881</c:v>
                </c:pt>
                <c:pt idx="246">
                  <c:v>109897</c:v>
                </c:pt>
                <c:pt idx="247">
                  <c:v>109969</c:v>
                </c:pt>
                <c:pt idx="248">
                  <c:v>110029</c:v>
                </c:pt>
                <c:pt idx="249">
                  <c:v>110085</c:v>
                </c:pt>
                <c:pt idx="250">
                  <c:v>110157</c:v>
                </c:pt>
                <c:pt idx="251">
                  <c:v>110232</c:v>
                </c:pt>
                <c:pt idx="252">
                  <c:v>110244</c:v>
                </c:pt>
                <c:pt idx="253">
                  <c:v>110254</c:v>
                </c:pt>
                <c:pt idx="254">
                  <c:v>110312</c:v>
                </c:pt>
                <c:pt idx="255">
                  <c:v>110351</c:v>
                </c:pt>
                <c:pt idx="256">
                  <c:v>110402</c:v>
                </c:pt>
                <c:pt idx="257">
                  <c:v>110457</c:v>
                </c:pt>
                <c:pt idx="258">
                  <c:v>110508</c:v>
                </c:pt>
                <c:pt idx="259">
                  <c:v>110525</c:v>
                </c:pt>
                <c:pt idx="260">
                  <c:v>110532</c:v>
                </c:pt>
                <c:pt idx="261">
                  <c:v>110576</c:v>
                </c:pt>
                <c:pt idx="262">
                  <c:v>110638</c:v>
                </c:pt>
                <c:pt idx="263">
                  <c:v>110683</c:v>
                </c:pt>
                <c:pt idx="264">
                  <c:v>110739</c:v>
                </c:pt>
                <c:pt idx="265">
                  <c:v>110805</c:v>
                </c:pt>
                <c:pt idx="266">
                  <c:v>110822</c:v>
                </c:pt>
                <c:pt idx="267">
                  <c:v>110828</c:v>
                </c:pt>
                <c:pt idx="268">
                  <c:v>110865</c:v>
                </c:pt>
                <c:pt idx="269">
                  <c:v>110913</c:v>
                </c:pt>
                <c:pt idx="270">
                  <c:v>110955</c:v>
                </c:pt>
                <c:pt idx="271">
                  <c:v>111005</c:v>
                </c:pt>
                <c:pt idx="272">
                  <c:v>111076</c:v>
                </c:pt>
                <c:pt idx="273">
                  <c:v>111085</c:v>
                </c:pt>
                <c:pt idx="274">
                  <c:v>111089</c:v>
                </c:pt>
                <c:pt idx="275">
                  <c:v>111129</c:v>
                </c:pt>
                <c:pt idx="276">
                  <c:v>111131</c:v>
                </c:pt>
                <c:pt idx="277">
                  <c:v>111172</c:v>
                </c:pt>
                <c:pt idx="278">
                  <c:v>111208</c:v>
                </c:pt>
                <c:pt idx="279">
                  <c:v>111237</c:v>
                </c:pt>
                <c:pt idx="280">
                  <c:v>111244</c:v>
                </c:pt>
                <c:pt idx="281">
                  <c:v>111251</c:v>
                </c:pt>
                <c:pt idx="282">
                  <c:v>111276</c:v>
                </c:pt>
                <c:pt idx="283">
                  <c:v>111318</c:v>
                </c:pt>
                <c:pt idx="284">
                  <c:v>111364</c:v>
                </c:pt>
                <c:pt idx="285">
                  <c:v>111389</c:v>
                </c:pt>
                <c:pt idx="286">
                  <c:v>111432</c:v>
                </c:pt>
                <c:pt idx="287">
                  <c:v>1114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9B2-46E3-85FE-A83BCF6CC085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Ostatní ZP</c:v>
                </c:pt>
              </c:strCache>
            </c:strRef>
          </c:tx>
          <c:spPr>
            <a:ln w="28575" cap="rnd">
              <a:solidFill>
                <a:srgbClr val="A6A6A6"/>
              </a:solidFill>
              <a:round/>
            </a:ln>
            <a:effectLst/>
          </c:spPr>
          <c:marker>
            <c:symbol val="none"/>
          </c:marker>
          <c:cat>
            <c:strRef>
              <c:f>List1!$B$1:$KC$1</c:f>
              <c:strCache>
                <c:ptCount val="288"/>
                <c:pt idx="0">
                  <c:v>26-XII.</c:v>
                </c:pt>
                <c:pt idx="1">
                  <c:v>27-XII.</c:v>
                </c:pt>
                <c:pt idx="2">
                  <c:v>28-XII.</c:v>
                </c:pt>
                <c:pt idx="3">
                  <c:v>29-XII.</c:v>
                </c:pt>
                <c:pt idx="4">
                  <c:v>30-XII.</c:v>
                </c:pt>
                <c:pt idx="5">
                  <c:v>31-XII.</c:v>
                </c:pt>
                <c:pt idx="6">
                  <c:v>1-I.</c:v>
                </c:pt>
                <c:pt idx="7">
                  <c:v>2-I.</c:v>
                </c:pt>
                <c:pt idx="8">
                  <c:v>3-I.</c:v>
                </c:pt>
                <c:pt idx="9">
                  <c:v>4-I.</c:v>
                </c:pt>
                <c:pt idx="10">
                  <c:v>5-I.</c:v>
                </c:pt>
                <c:pt idx="11">
                  <c:v>6-I.</c:v>
                </c:pt>
                <c:pt idx="12">
                  <c:v>7-I.</c:v>
                </c:pt>
                <c:pt idx="13">
                  <c:v>8-I.</c:v>
                </c:pt>
                <c:pt idx="14">
                  <c:v>9-I.</c:v>
                </c:pt>
                <c:pt idx="15">
                  <c:v>10-I.</c:v>
                </c:pt>
                <c:pt idx="16">
                  <c:v>11-I.</c:v>
                </c:pt>
                <c:pt idx="17">
                  <c:v>12-I.</c:v>
                </c:pt>
                <c:pt idx="18">
                  <c:v>13-I.</c:v>
                </c:pt>
                <c:pt idx="19">
                  <c:v>14-I.</c:v>
                </c:pt>
                <c:pt idx="20">
                  <c:v>15-I.</c:v>
                </c:pt>
                <c:pt idx="21">
                  <c:v>16-I.</c:v>
                </c:pt>
                <c:pt idx="22">
                  <c:v>17-I.</c:v>
                </c:pt>
                <c:pt idx="23">
                  <c:v>18-I.</c:v>
                </c:pt>
                <c:pt idx="24">
                  <c:v>19-I.</c:v>
                </c:pt>
                <c:pt idx="25">
                  <c:v>20-I.</c:v>
                </c:pt>
                <c:pt idx="26">
                  <c:v>21-I.</c:v>
                </c:pt>
                <c:pt idx="27">
                  <c:v>22-I.</c:v>
                </c:pt>
                <c:pt idx="28">
                  <c:v>23-I.</c:v>
                </c:pt>
                <c:pt idx="29">
                  <c:v>24-I.</c:v>
                </c:pt>
                <c:pt idx="30">
                  <c:v>25-I.</c:v>
                </c:pt>
                <c:pt idx="31">
                  <c:v>26-I.</c:v>
                </c:pt>
                <c:pt idx="32">
                  <c:v>27-I.</c:v>
                </c:pt>
                <c:pt idx="33">
                  <c:v>28-I.</c:v>
                </c:pt>
                <c:pt idx="34">
                  <c:v>29-I.</c:v>
                </c:pt>
                <c:pt idx="35">
                  <c:v>30-I.</c:v>
                </c:pt>
                <c:pt idx="36">
                  <c:v>31-I.</c:v>
                </c:pt>
                <c:pt idx="37">
                  <c:v>1-II.</c:v>
                </c:pt>
                <c:pt idx="38">
                  <c:v>2-II.</c:v>
                </c:pt>
                <c:pt idx="39">
                  <c:v>3-II.</c:v>
                </c:pt>
                <c:pt idx="40">
                  <c:v>4-II.</c:v>
                </c:pt>
                <c:pt idx="41">
                  <c:v>5-II.</c:v>
                </c:pt>
                <c:pt idx="42">
                  <c:v>6-II.</c:v>
                </c:pt>
                <c:pt idx="43">
                  <c:v>7-II.</c:v>
                </c:pt>
                <c:pt idx="44">
                  <c:v>8-II.</c:v>
                </c:pt>
                <c:pt idx="45">
                  <c:v>9-II.</c:v>
                </c:pt>
                <c:pt idx="46">
                  <c:v>10-II.</c:v>
                </c:pt>
                <c:pt idx="47">
                  <c:v>11-II.</c:v>
                </c:pt>
                <c:pt idx="48">
                  <c:v>12-II.</c:v>
                </c:pt>
                <c:pt idx="49">
                  <c:v>13-II.</c:v>
                </c:pt>
                <c:pt idx="50">
                  <c:v>14-II.</c:v>
                </c:pt>
                <c:pt idx="51">
                  <c:v>15-II.</c:v>
                </c:pt>
                <c:pt idx="52">
                  <c:v>16-II.</c:v>
                </c:pt>
                <c:pt idx="53">
                  <c:v>17-II.</c:v>
                </c:pt>
                <c:pt idx="54">
                  <c:v>18-II.</c:v>
                </c:pt>
                <c:pt idx="55">
                  <c:v>19-II.</c:v>
                </c:pt>
                <c:pt idx="56">
                  <c:v>20-II.</c:v>
                </c:pt>
                <c:pt idx="57">
                  <c:v>21-II.</c:v>
                </c:pt>
                <c:pt idx="58">
                  <c:v>22-II.</c:v>
                </c:pt>
                <c:pt idx="59">
                  <c:v>23-II.</c:v>
                </c:pt>
                <c:pt idx="60">
                  <c:v>24-II.</c:v>
                </c:pt>
                <c:pt idx="61">
                  <c:v>25-II.</c:v>
                </c:pt>
                <c:pt idx="62">
                  <c:v>26-II.</c:v>
                </c:pt>
                <c:pt idx="63">
                  <c:v>27-II.</c:v>
                </c:pt>
                <c:pt idx="64">
                  <c:v>28-II.</c:v>
                </c:pt>
                <c:pt idx="65">
                  <c:v>1-III.</c:v>
                </c:pt>
                <c:pt idx="66">
                  <c:v>2-III.</c:v>
                </c:pt>
                <c:pt idx="67">
                  <c:v>3-III.</c:v>
                </c:pt>
                <c:pt idx="68">
                  <c:v>4-III.</c:v>
                </c:pt>
                <c:pt idx="69">
                  <c:v>5-III.</c:v>
                </c:pt>
                <c:pt idx="70">
                  <c:v>6-III.</c:v>
                </c:pt>
                <c:pt idx="71">
                  <c:v>7-III.</c:v>
                </c:pt>
                <c:pt idx="72">
                  <c:v>8-III.</c:v>
                </c:pt>
                <c:pt idx="73">
                  <c:v>9-III.</c:v>
                </c:pt>
                <c:pt idx="74">
                  <c:v>10-III.</c:v>
                </c:pt>
                <c:pt idx="75">
                  <c:v>11-III.</c:v>
                </c:pt>
                <c:pt idx="76">
                  <c:v>12-III.</c:v>
                </c:pt>
                <c:pt idx="77">
                  <c:v>13-III.</c:v>
                </c:pt>
                <c:pt idx="78">
                  <c:v>14-III.</c:v>
                </c:pt>
                <c:pt idx="79">
                  <c:v>15-III.</c:v>
                </c:pt>
                <c:pt idx="80">
                  <c:v>16-III.</c:v>
                </c:pt>
                <c:pt idx="81">
                  <c:v>17-III.</c:v>
                </c:pt>
                <c:pt idx="82">
                  <c:v>18-III.</c:v>
                </c:pt>
                <c:pt idx="83">
                  <c:v>19-III.</c:v>
                </c:pt>
                <c:pt idx="84">
                  <c:v>20-III.</c:v>
                </c:pt>
                <c:pt idx="85">
                  <c:v>21-III.</c:v>
                </c:pt>
                <c:pt idx="86">
                  <c:v>22-III.</c:v>
                </c:pt>
                <c:pt idx="87">
                  <c:v>23-III.</c:v>
                </c:pt>
                <c:pt idx="88">
                  <c:v>24-III.</c:v>
                </c:pt>
                <c:pt idx="89">
                  <c:v>25-III.</c:v>
                </c:pt>
                <c:pt idx="90">
                  <c:v>26-III.</c:v>
                </c:pt>
                <c:pt idx="91">
                  <c:v>27-III.</c:v>
                </c:pt>
                <c:pt idx="92">
                  <c:v>28-III.</c:v>
                </c:pt>
                <c:pt idx="93">
                  <c:v>29-III.</c:v>
                </c:pt>
                <c:pt idx="94">
                  <c:v>30-III.</c:v>
                </c:pt>
                <c:pt idx="95">
                  <c:v>31-III.</c:v>
                </c:pt>
                <c:pt idx="96">
                  <c:v>1-IV.</c:v>
                </c:pt>
                <c:pt idx="97">
                  <c:v>2-IV.</c:v>
                </c:pt>
                <c:pt idx="98">
                  <c:v>3-IV.</c:v>
                </c:pt>
                <c:pt idx="99">
                  <c:v>4-IV.</c:v>
                </c:pt>
                <c:pt idx="100">
                  <c:v>5-IV.</c:v>
                </c:pt>
                <c:pt idx="101">
                  <c:v>6-IV.</c:v>
                </c:pt>
                <c:pt idx="102">
                  <c:v>7-IV.</c:v>
                </c:pt>
                <c:pt idx="103">
                  <c:v>8-IV.</c:v>
                </c:pt>
                <c:pt idx="104">
                  <c:v>9-IV.</c:v>
                </c:pt>
                <c:pt idx="105">
                  <c:v>10-IV.</c:v>
                </c:pt>
                <c:pt idx="106">
                  <c:v>11-IV.</c:v>
                </c:pt>
                <c:pt idx="107">
                  <c:v>12-IV.</c:v>
                </c:pt>
                <c:pt idx="108">
                  <c:v>13-IV.</c:v>
                </c:pt>
                <c:pt idx="109">
                  <c:v>14-IV.</c:v>
                </c:pt>
                <c:pt idx="110">
                  <c:v>15-IV.</c:v>
                </c:pt>
                <c:pt idx="111">
                  <c:v>16-IV.</c:v>
                </c:pt>
                <c:pt idx="112">
                  <c:v>17-IV.</c:v>
                </c:pt>
                <c:pt idx="113">
                  <c:v>18-IV.</c:v>
                </c:pt>
                <c:pt idx="114">
                  <c:v>19-IV.</c:v>
                </c:pt>
                <c:pt idx="115">
                  <c:v>20-IV.</c:v>
                </c:pt>
                <c:pt idx="116">
                  <c:v>21-IV.</c:v>
                </c:pt>
                <c:pt idx="117">
                  <c:v>22-IV.</c:v>
                </c:pt>
                <c:pt idx="118">
                  <c:v>23-IV.</c:v>
                </c:pt>
                <c:pt idx="119">
                  <c:v>24-IV.</c:v>
                </c:pt>
                <c:pt idx="120">
                  <c:v>25-IV.</c:v>
                </c:pt>
                <c:pt idx="121">
                  <c:v>26-IV.</c:v>
                </c:pt>
                <c:pt idx="122">
                  <c:v>27-IV.</c:v>
                </c:pt>
                <c:pt idx="123">
                  <c:v>28-IV.</c:v>
                </c:pt>
                <c:pt idx="124">
                  <c:v>29-IV.</c:v>
                </c:pt>
                <c:pt idx="125">
                  <c:v>30-IV.</c:v>
                </c:pt>
                <c:pt idx="126">
                  <c:v>1-V.</c:v>
                </c:pt>
                <c:pt idx="127">
                  <c:v>2-V.</c:v>
                </c:pt>
                <c:pt idx="128">
                  <c:v>3-V.</c:v>
                </c:pt>
                <c:pt idx="129">
                  <c:v>4-V.</c:v>
                </c:pt>
                <c:pt idx="130">
                  <c:v>5-V.</c:v>
                </c:pt>
                <c:pt idx="131">
                  <c:v>6-V.</c:v>
                </c:pt>
                <c:pt idx="132">
                  <c:v>7-V.</c:v>
                </c:pt>
                <c:pt idx="133">
                  <c:v>8-V.</c:v>
                </c:pt>
                <c:pt idx="134">
                  <c:v>9-V.</c:v>
                </c:pt>
                <c:pt idx="135">
                  <c:v>10-V.</c:v>
                </c:pt>
                <c:pt idx="136">
                  <c:v>11-V.</c:v>
                </c:pt>
                <c:pt idx="137">
                  <c:v>12-V.</c:v>
                </c:pt>
                <c:pt idx="138">
                  <c:v>13-V.</c:v>
                </c:pt>
                <c:pt idx="139">
                  <c:v>14-V.</c:v>
                </c:pt>
                <c:pt idx="140">
                  <c:v>15-V.</c:v>
                </c:pt>
                <c:pt idx="141">
                  <c:v>16-V.</c:v>
                </c:pt>
                <c:pt idx="142">
                  <c:v>17-V.</c:v>
                </c:pt>
                <c:pt idx="143">
                  <c:v>18-V.</c:v>
                </c:pt>
                <c:pt idx="144">
                  <c:v>19-V.</c:v>
                </c:pt>
                <c:pt idx="145">
                  <c:v>20-V.</c:v>
                </c:pt>
                <c:pt idx="146">
                  <c:v>21-V.</c:v>
                </c:pt>
                <c:pt idx="147">
                  <c:v>22-V.</c:v>
                </c:pt>
                <c:pt idx="148">
                  <c:v>23-V.</c:v>
                </c:pt>
                <c:pt idx="149">
                  <c:v>24-V.</c:v>
                </c:pt>
                <c:pt idx="150">
                  <c:v>25-V.</c:v>
                </c:pt>
                <c:pt idx="151">
                  <c:v>26-V.</c:v>
                </c:pt>
                <c:pt idx="152">
                  <c:v>27-V.</c:v>
                </c:pt>
                <c:pt idx="153">
                  <c:v>28-V.</c:v>
                </c:pt>
                <c:pt idx="154">
                  <c:v>29-V.</c:v>
                </c:pt>
                <c:pt idx="155">
                  <c:v>30-V.</c:v>
                </c:pt>
                <c:pt idx="156">
                  <c:v>31-V.</c:v>
                </c:pt>
                <c:pt idx="157">
                  <c:v>1-VI.</c:v>
                </c:pt>
                <c:pt idx="158">
                  <c:v>2-VI.</c:v>
                </c:pt>
                <c:pt idx="159">
                  <c:v>3-VI.</c:v>
                </c:pt>
                <c:pt idx="160">
                  <c:v>4-VI.</c:v>
                </c:pt>
                <c:pt idx="161">
                  <c:v>5-VI.</c:v>
                </c:pt>
                <c:pt idx="162">
                  <c:v>6-VI.</c:v>
                </c:pt>
                <c:pt idx="163">
                  <c:v>7-VI.</c:v>
                </c:pt>
                <c:pt idx="164">
                  <c:v>8-VI.</c:v>
                </c:pt>
                <c:pt idx="165">
                  <c:v>9-VI.</c:v>
                </c:pt>
                <c:pt idx="166">
                  <c:v>10-VI.</c:v>
                </c:pt>
                <c:pt idx="167">
                  <c:v>11-VI.</c:v>
                </c:pt>
                <c:pt idx="168">
                  <c:v>12-VI.</c:v>
                </c:pt>
                <c:pt idx="169">
                  <c:v>13-VI.</c:v>
                </c:pt>
                <c:pt idx="170">
                  <c:v>14-VI.</c:v>
                </c:pt>
                <c:pt idx="171">
                  <c:v>15-VI.</c:v>
                </c:pt>
                <c:pt idx="172">
                  <c:v>16-VI.</c:v>
                </c:pt>
                <c:pt idx="173">
                  <c:v>17-VI.</c:v>
                </c:pt>
                <c:pt idx="174">
                  <c:v>18-VI.</c:v>
                </c:pt>
                <c:pt idx="175">
                  <c:v>19-VI.</c:v>
                </c:pt>
                <c:pt idx="176">
                  <c:v>20-VI.</c:v>
                </c:pt>
                <c:pt idx="177">
                  <c:v>21-VI.</c:v>
                </c:pt>
                <c:pt idx="178">
                  <c:v>22-VI.</c:v>
                </c:pt>
                <c:pt idx="179">
                  <c:v>23-VI.</c:v>
                </c:pt>
                <c:pt idx="180">
                  <c:v>24-VI.</c:v>
                </c:pt>
                <c:pt idx="181">
                  <c:v>25-VI.</c:v>
                </c:pt>
                <c:pt idx="182">
                  <c:v>26-VI.</c:v>
                </c:pt>
                <c:pt idx="183">
                  <c:v>27-VI.</c:v>
                </c:pt>
                <c:pt idx="184">
                  <c:v>28-VI.</c:v>
                </c:pt>
                <c:pt idx="185">
                  <c:v>29-VI.</c:v>
                </c:pt>
                <c:pt idx="186">
                  <c:v>30-VI.</c:v>
                </c:pt>
                <c:pt idx="187">
                  <c:v>1-VII.</c:v>
                </c:pt>
                <c:pt idx="188">
                  <c:v>2-VII.</c:v>
                </c:pt>
                <c:pt idx="189">
                  <c:v>3-VII.</c:v>
                </c:pt>
                <c:pt idx="190">
                  <c:v>4-VII.</c:v>
                </c:pt>
                <c:pt idx="191">
                  <c:v>5-VII.</c:v>
                </c:pt>
                <c:pt idx="192">
                  <c:v>6-VII.</c:v>
                </c:pt>
                <c:pt idx="193">
                  <c:v>7-VII.</c:v>
                </c:pt>
                <c:pt idx="194">
                  <c:v>8-VII.</c:v>
                </c:pt>
                <c:pt idx="195">
                  <c:v>9-VII.</c:v>
                </c:pt>
                <c:pt idx="196">
                  <c:v>10-VII.</c:v>
                </c:pt>
                <c:pt idx="197">
                  <c:v>11-VII.</c:v>
                </c:pt>
                <c:pt idx="198">
                  <c:v>12-VII.</c:v>
                </c:pt>
                <c:pt idx="199">
                  <c:v>13-VII.</c:v>
                </c:pt>
                <c:pt idx="200">
                  <c:v>14-VII.</c:v>
                </c:pt>
                <c:pt idx="201">
                  <c:v>15-VII.</c:v>
                </c:pt>
                <c:pt idx="202">
                  <c:v>16-VII.</c:v>
                </c:pt>
                <c:pt idx="203">
                  <c:v>17-VII.</c:v>
                </c:pt>
                <c:pt idx="204">
                  <c:v>18-VII.</c:v>
                </c:pt>
                <c:pt idx="205">
                  <c:v>19-VII.</c:v>
                </c:pt>
                <c:pt idx="206">
                  <c:v>20-VII.</c:v>
                </c:pt>
                <c:pt idx="207">
                  <c:v>21-VII.</c:v>
                </c:pt>
                <c:pt idx="208">
                  <c:v>22-VII.</c:v>
                </c:pt>
                <c:pt idx="209">
                  <c:v>23-VII.</c:v>
                </c:pt>
                <c:pt idx="210">
                  <c:v>24-VII.</c:v>
                </c:pt>
                <c:pt idx="211">
                  <c:v>25-VII.</c:v>
                </c:pt>
                <c:pt idx="212">
                  <c:v>26-VII.</c:v>
                </c:pt>
                <c:pt idx="213">
                  <c:v>27-VII.</c:v>
                </c:pt>
                <c:pt idx="214">
                  <c:v>28-VII.</c:v>
                </c:pt>
                <c:pt idx="215">
                  <c:v>29-VII.</c:v>
                </c:pt>
                <c:pt idx="216">
                  <c:v>30-VII.</c:v>
                </c:pt>
                <c:pt idx="217">
                  <c:v>31-VII.</c:v>
                </c:pt>
                <c:pt idx="218">
                  <c:v>1-VIII.</c:v>
                </c:pt>
                <c:pt idx="219">
                  <c:v>2-VIII.</c:v>
                </c:pt>
                <c:pt idx="220">
                  <c:v>3-VIII.</c:v>
                </c:pt>
                <c:pt idx="221">
                  <c:v>4-VIII.</c:v>
                </c:pt>
                <c:pt idx="222">
                  <c:v>5-VIII.</c:v>
                </c:pt>
                <c:pt idx="223">
                  <c:v>6-VIII.</c:v>
                </c:pt>
                <c:pt idx="224">
                  <c:v>7-VIII.</c:v>
                </c:pt>
                <c:pt idx="225">
                  <c:v>8-VIII.</c:v>
                </c:pt>
                <c:pt idx="226">
                  <c:v>9-VIII.</c:v>
                </c:pt>
                <c:pt idx="227">
                  <c:v>10-VIII.</c:v>
                </c:pt>
                <c:pt idx="228">
                  <c:v>11-VIII.</c:v>
                </c:pt>
                <c:pt idx="229">
                  <c:v>12-VIII.</c:v>
                </c:pt>
                <c:pt idx="230">
                  <c:v>13-VIII.</c:v>
                </c:pt>
                <c:pt idx="231">
                  <c:v>14-VIII.</c:v>
                </c:pt>
                <c:pt idx="232">
                  <c:v>15-VIII.</c:v>
                </c:pt>
                <c:pt idx="233">
                  <c:v>16-VIII.</c:v>
                </c:pt>
                <c:pt idx="234">
                  <c:v>17-VIII.</c:v>
                </c:pt>
                <c:pt idx="235">
                  <c:v>18-VIII.</c:v>
                </c:pt>
                <c:pt idx="236">
                  <c:v>19-VIII.</c:v>
                </c:pt>
                <c:pt idx="237">
                  <c:v>20-VIII.</c:v>
                </c:pt>
                <c:pt idx="238">
                  <c:v>21-VIII.</c:v>
                </c:pt>
                <c:pt idx="239">
                  <c:v>22-VIII.</c:v>
                </c:pt>
                <c:pt idx="240">
                  <c:v>23-VIII.</c:v>
                </c:pt>
                <c:pt idx="241">
                  <c:v>24-VIII.</c:v>
                </c:pt>
                <c:pt idx="242">
                  <c:v>25-VIII.</c:v>
                </c:pt>
                <c:pt idx="243">
                  <c:v>26-VIII.</c:v>
                </c:pt>
                <c:pt idx="244">
                  <c:v>27-VIII.</c:v>
                </c:pt>
                <c:pt idx="245">
                  <c:v>28-VIII.</c:v>
                </c:pt>
                <c:pt idx="246">
                  <c:v>29-VIII.</c:v>
                </c:pt>
                <c:pt idx="247">
                  <c:v>30-VIII.</c:v>
                </c:pt>
                <c:pt idx="248">
                  <c:v>31-VIII.</c:v>
                </c:pt>
                <c:pt idx="249">
                  <c:v>1-IX.</c:v>
                </c:pt>
                <c:pt idx="250">
                  <c:v>2-IX.</c:v>
                </c:pt>
                <c:pt idx="251">
                  <c:v>3-IX.</c:v>
                </c:pt>
                <c:pt idx="252">
                  <c:v>4-IX.</c:v>
                </c:pt>
                <c:pt idx="253">
                  <c:v>5-IX.</c:v>
                </c:pt>
                <c:pt idx="254">
                  <c:v>6-IX.</c:v>
                </c:pt>
                <c:pt idx="255">
                  <c:v>7-IX.</c:v>
                </c:pt>
                <c:pt idx="256">
                  <c:v>8-IX.</c:v>
                </c:pt>
                <c:pt idx="257">
                  <c:v>9-IX.</c:v>
                </c:pt>
                <c:pt idx="258">
                  <c:v>10-IX.</c:v>
                </c:pt>
                <c:pt idx="259">
                  <c:v>11-IX.</c:v>
                </c:pt>
                <c:pt idx="260">
                  <c:v>12-IX.</c:v>
                </c:pt>
                <c:pt idx="261">
                  <c:v>13-IX.</c:v>
                </c:pt>
                <c:pt idx="262">
                  <c:v>14-IX.</c:v>
                </c:pt>
                <c:pt idx="263">
                  <c:v>15-IX.</c:v>
                </c:pt>
                <c:pt idx="264">
                  <c:v>16-IX.</c:v>
                </c:pt>
                <c:pt idx="265">
                  <c:v>17-IX.</c:v>
                </c:pt>
                <c:pt idx="266">
                  <c:v>18-IX.</c:v>
                </c:pt>
                <c:pt idx="267">
                  <c:v>19-IX.</c:v>
                </c:pt>
                <c:pt idx="268">
                  <c:v>20-IX.</c:v>
                </c:pt>
                <c:pt idx="269">
                  <c:v>21-IX.</c:v>
                </c:pt>
                <c:pt idx="270">
                  <c:v>22-IX.</c:v>
                </c:pt>
                <c:pt idx="271">
                  <c:v>23-IX.</c:v>
                </c:pt>
                <c:pt idx="272">
                  <c:v>24-IX.</c:v>
                </c:pt>
                <c:pt idx="273">
                  <c:v>25-IX.</c:v>
                </c:pt>
                <c:pt idx="274">
                  <c:v>26-IX.</c:v>
                </c:pt>
                <c:pt idx="275">
                  <c:v>27-IX.</c:v>
                </c:pt>
                <c:pt idx="276">
                  <c:v>28-IX.</c:v>
                </c:pt>
                <c:pt idx="277">
                  <c:v>29-IX.</c:v>
                </c:pt>
                <c:pt idx="278">
                  <c:v>30-IX.</c:v>
                </c:pt>
                <c:pt idx="279">
                  <c:v>1-X.</c:v>
                </c:pt>
                <c:pt idx="280">
                  <c:v>2-X.</c:v>
                </c:pt>
                <c:pt idx="281">
                  <c:v>3-X.</c:v>
                </c:pt>
                <c:pt idx="282">
                  <c:v>4-X.</c:v>
                </c:pt>
                <c:pt idx="283">
                  <c:v>5-X.</c:v>
                </c:pt>
                <c:pt idx="284">
                  <c:v>6-X.</c:v>
                </c:pt>
                <c:pt idx="285">
                  <c:v>7-X.</c:v>
                </c:pt>
                <c:pt idx="286">
                  <c:v>8-X.</c:v>
                </c:pt>
                <c:pt idx="287">
                  <c:v>9-X.</c:v>
                </c:pt>
              </c:strCache>
            </c:strRef>
          </c:cat>
          <c:val>
            <c:numRef>
              <c:f>List1!$B$4:$KC$4</c:f>
              <c:numCache>
                <c:formatCode>General</c:formatCode>
                <c:ptCount val="288"/>
                <c:pt idx="1">
                  <c:v>195</c:v>
                </c:pt>
                <c:pt idx="2">
                  <c:v>644</c:v>
                </c:pt>
                <c:pt idx="3">
                  <c:v>1251</c:v>
                </c:pt>
                <c:pt idx="4">
                  <c:v>1876</c:v>
                </c:pt>
                <c:pt idx="5">
                  <c:v>2049</c:v>
                </c:pt>
                <c:pt idx="6">
                  <c:v>2079</c:v>
                </c:pt>
                <c:pt idx="7">
                  <c:v>2368</c:v>
                </c:pt>
                <c:pt idx="8">
                  <c:v>2579</c:v>
                </c:pt>
                <c:pt idx="9">
                  <c:v>3203</c:v>
                </c:pt>
                <c:pt idx="10">
                  <c:v>4166</c:v>
                </c:pt>
                <c:pt idx="11">
                  <c:v>5585</c:v>
                </c:pt>
                <c:pt idx="12">
                  <c:v>7186</c:v>
                </c:pt>
                <c:pt idx="13">
                  <c:v>9022</c:v>
                </c:pt>
                <c:pt idx="14">
                  <c:v>9329</c:v>
                </c:pt>
                <c:pt idx="15">
                  <c:v>9636</c:v>
                </c:pt>
                <c:pt idx="16">
                  <c:v>11501</c:v>
                </c:pt>
                <c:pt idx="17">
                  <c:v>13794</c:v>
                </c:pt>
                <c:pt idx="18">
                  <c:v>15831</c:v>
                </c:pt>
                <c:pt idx="19">
                  <c:v>17710</c:v>
                </c:pt>
                <c:pt idx="20">
                  <c:v>19322</c:v>
                </c:pt>
                <c:pt idx="21">
                  <c:v>19539</c:v>
                </c:pt>
                <c:pt idx="22">
                  <c:v>19636</c:v>
                </c:pt>
                <c:pt idx="23">
                  <c:v>20807</c:v>
                </c:pt>
                <c:pt idx="24">
                  <c:v>21744</c:v>
                </c:pt>
                <c:pt idx="25">
                  <c:v>22681</c:v>
                </c:pt>
                <c:pt idx="26">
                  <c:v>23539</c:v>
                </c:pt>
                <c:pt idx="27">
                  <c:v>24286</c:v>
                </c:pt>
                <c:pt idx="28">
                  <c:v>24349</c:v>
                </c:pt>
                <c:pt idx="29">
                  <c:v>24392</c:v>
                </c:pt>
                <c:pt idx="30">
                  <c:v>24840</c:v>
                </c:pt>
                <c:pt idx="31">
                  <c:v>25294</c:v>
                </c:pt>
                <c:pt idx="32">
                  <c:v>25690</c:v>
                </c:pt>
                <c:pt idx="33">
                  <c:v>26089</c:v>
                </c:pt>
                <c:pt idx="34">
                  <c:v>26476</c:v>
                </c:pt>
                <c:pt idx="35">
                  <c:v>26500</c:v>
                </c:pt>
                <c:pt idx="36">
                  <c:v>26533</c:v>
                </c:pt>
                <c:pt idx="37">
                  <c:v>26827</c:v>
                </c:pt>
                <c:pt idx="38">
                  <c:v>27116</c:v>
                </c:pt>
                <c:pt idx="39">
                  <c:v>27350</c:v>
                </c:pt>
                <c:pt idx="40">
                  <c:v>27532</c:v>
                </c:pt>
                <c:pt idx="41">
                  <c:v>27768</c:v>
                </c:pt>
                <c:pt idx="42">
                  <c:v>27777</c:v>
                </c:pt>
                <c:pt idx="43">
                  <c:v>27796</c:v>
                </c:pt>
                <c:pt idx="44">
                  <c:v>28033</c:v>
                </c:pt>
                <c:pt idx="45">
                  <c:v>28229</c:v>
                </c:pt>
                <c:pt idx="46">
                  <c:v>28496</c:v>
                </c:pt>
                <c:pt idx="47">
                  <c:v>28846</c:v>
                </c:pt>
                <c:pt idx="48">
                  <c:v>29235</c:v>
                </c:pt>
                <c:pt idx="49">
                  <c:v>29343</c:v>
                </c:pt>
                <c:pt idx="50">
                  <c:v>29409</c:v>
                </c:pt>
                <c:pt idx="51">
                  <c:v>29826</c:v>
                </c:pt>
                <c:pt idx="52">
                  <c:v>30334</c:v>
                </c:pt>
                <c:pt idx="53">
                  <c:v>30878</c:v>
                </c:pt>
                <c:pt idx="54">
                  <c:v>31435</c:v>
                </c:pt>
                <c:pt idx="55">
                  <c:v>32085</c:v>
                </c:pt>
                <c:pt idx="56">
                  <c:v>32310</c:v>
                </c:pt>
                <c:pt idx="57">
                  <c:v>32366</c:v>
                </c:pt>
                <c:pt idx="58">
                  <c:v>33051</c:v>
                </c:pt>
                <c:pt idx="59">
                  <c:v>34049</c:v>
                </c:pt>
                <c:pt idx="60">
                  <c:v>35130</c:v>
                </c:pt>
                <c:pt idx="61">
                  <c:v>36279</c:v>
                </c:pt>
                <c:pt idx="62">
                  <c:v>37356</c:v>
                </c:pt>
                <c:pt idx="63">
                  <c:v>37514</c:v>
                </c:pt>
                <c:pt idx="64">
                  <c:v>37642</c:v>
                </c:pt>
                <c:pt idx="65">
                  <c:v>38750</c:v>
                </c:pt>
                <c:pt idx="66">
                  <c:v>39964</c:v>
                </c:pt>
                <c:pt idx="67">
                  <c:v>41075</c:v>
                </c:pt>
                <c:pt idx="68">
                  <c:v>42076</c:v>
                </c:pt>
                <c:pt idx="69">
                  <c:v>43262</c:v>
                </c:pt>
                <c:pt idx="70">
                  <c:v>43550</c:v>
                </c:pt>
                <c:pt idx="71">
                  <c:v>43763</c:v>
                </c:pt>
                <c:pt idx="72">
                  <c:v>44605</c:v>
                </c:pt>
                <c:pt idx="73">
                  <c:v>45422</c:v>
                </c:pt>
                <c:pt idx="74">
                  <c:v>46316</c:v>
                </c:pt>
                <c:pt idx="75">
                  <c:v>47512</c:v>
                </c:pt>
                <c:pt idx="76">
                  <c:v>48616</c:v>
                </c:pt>
                <c:pt idx="77">
                  <c:v>48902</c:v>
                </c:pt>
                <c:pt idx="78">
                  <c:v>49142</c:v>
                </c:pt>
                <c:pt idx="79">
                  <c:v>49768</c:v>
                </c:pt>
                <c:pt idx="80">
                  <c:v>50694</c:v>
                </c:pt>
                <c:pt idx="81">
                  <c:v>51632</c:v>
                </c:pt>
                <c:pt idx="82">
                  <c:v>52410</c:v>
                </c:pt>
                <c:pt idx="83">
                  <c:v>53362</c:v>
                </c:pt>
                <c:pt idx="84">
                  <c:v>53764</c:v>
                </c:pt>
                <c:pt idx="85">
                  <c:v>53971</c:v>
                </c:pt>
                <c:pt idx="86">
                  <c:v>54421</c:v>
                </c:pt>
                <c:pt idx="87">
                  <c:v>54913</c:v>
                </c:pt>
                <c:pt idx="88">
                  <c:v>55330</c:v>
                </c:pt>
                <c:pt idx="89">
                  <c:v>55878</c:v>
                </c:pt>
                <c:pt idx="90">
                  <c:v>56454</c:v>
                </c:pt>
                <c:pt idx="91">
                  <c:v>56613</c:v>
                </c:pt>
                <c:pt idx="92">
                  <c:v>56747</c:v>
                </c:pt>
                <c:pt idx="93">
                  <c:v>57057</c:v>
                </c:pt>
                <c:pt idx="94">
                  <c:v>57478</c:v>
                </c:pt>
                <c:pt idx="95">
                  <c:v>57976</c:v>
                </c:pt>
                <c:pt idx="96">
                  <c:v>58406</c:v>
                </c:pt>
                <c:pt idx="97">
                  <c:v>58494</c:v>
                </c:pt>
                <c:pt idx="98">
                  <c:v>58552</c:v>
                </c:pt>
                <c:pt idx="99">
                  <c:v>58590</c:v>
                </c:pt>
                <c:pt idx="100">
                  <c:v>58619</c:v>
                </c:pt>
                <c:pt idx="101">
                  <c:v>58853</c:v>
                </c:pt>
                <c:pt idx="102">
                  <c:v>59114</c:v>
                </c:pt>
                <c:pt idx="103">
                  <c:v>59651</c:v>
                </c:pt>
                <c:pt idx="104">
                  <c:v>60151</c:v>
                </c:pt>
                <c:pt idx="105">
                  <c:v>60323</c:v>
                </c:pt>
                <c:pt idx="106">
                  <c:v>60437</c:v>
                </c:pt>
                <c:pt idx="107">
                  <c:v>60810</c:v>
                </c:pt>
                <c:pt idx="108">
                  <c:v>61123</c:v>
                </c:pt>
                <c:pt idx="109">
                  <c:v>61508</c:v>
                </c:pt>
                <c:pt idx="110">
                  <c:v>62062</c:v>
                </c:pt>
                <c:pt idx="111">
                  <c:v>62704</c:v>
                </c:pt>
                <c:pt idx="112">
                  <c:v>62880</c:v>
                </c:pt>
                <c:pt idx="113">
                  <c:v>63075</c:v>
                </c:pt>
                <c:pt idx="114">
                  <c:v>63526</c:v>
                </c:pt>
                <c:pt idx="115">
                  <c:v>63952</c:v>
                </c:pt>
                <c:pt idx="116">
                  <c:v>64448</c:v>
                </c:pt>
                <c:pt idx="117">
                  <c:v>65050</c:v>
                </c:pt>
                <c:pt idx="118">
                  <c:v>65694</c:v>
                </c:pt>
                <c:pt idx="119">
                  <c:v>65874</c:v>
                </c:pt>
                <c:pt idx="120">
                  <c:v>66024</c:v>
                </c:pt>
                <c:pt idx="121">
                  <c:v>66508</c:v>
                </c:pt>
                <c:pt idx="122">
                  <c:v>66931</c:v>
                </c:pt>
                <c:pt idx="123">
                  <c:v>67491</c:v>
                </c:pt>
                <c:pt idx="124">
                  <c:v>68076</c:v>
                </c:pt>
                <c:pt idx="125">
                  <c:v>68692</c:v>
                </c:pt>
                <c:pt idx="126">
                  <c:v>68846</c:v>
                </c:pt>
                <c:pt idx="127">
                  <c:v>69001</c:v>
                </c:pt>
                <c:pt idx="128">
                  <c:v>69453</c:v>
                </c:pt>
                <c:pt idx="129">
                  <c:v>69905</c:v>
                </c:pt>
                <c:pt idx="130">
                  <c:v>70423</c:v>
                </c:pt>
                <c:pt idx="131">
                  <c:v>70949</c:v>
                </c:pt>
                <c:pt idx="132">
                  <c:v>71508</c:v>
                </c:pt>
                <c:pt idx="133">
                  <c:v>71727</c:v>
                </c:pt>
                <c:pt idx="134">
                  <c:v>71898</c:v>
                </c:pt>
                <c:pt idx="135">
                  <c:v>72374</c:v>
                </c:pt>
                <c:pt idx="136">
                  <c:v>72806</c:v>
                </c:pt>
                <c:pt idx="137">
                  <c:v>73278</c:v>
                </c:pt>
                <c:pt idx="138">
                  <c:v>73817</c:v>
                </c:pt>
                <c:pt idx="139">
                  <c:v>74317</c:v>
                </c:pt>
                <c:pt idx="140">
                  <c:v>74527</c:v>
                </c:pt>
                <c:pt idx="141">
                  <c:v>74676</c:v>
                </c:pt>
                <c:pt idx="142">
                  <c:v>75059</c:v>
                </c:pt>
                <c:pt idx="143">
                  <c:v>75472</c:v>
                </c:pt>
                <c:pt idx="144">
                  <c:v>75927</c:v>
                </c:pt>
                <c:pt idx="145">
                  <c:v>76364</c:v>
                </c:pt>
                <c:pt idx="146">
                  <c:v>76814</c:v>
                </c:pt>
                <c:pt idx="147">
                  <c:v>76989</c:v>
                </c:pt>
                <c:pt idx="148">
                  <c:v>77104</c:v>
                </c:pt>
                <c:pt idx="149">
                  <c:v>77390</c:v>
                </c:pt>
                <c:pt idx="150">
                  <c:v>77716</c:v>
                </c:pt>
                <c:pt idx="151">
                  <c:v>78126</c:v>
                </c:pt>
                <c:pt idx="152">
                  <c:v>78492</c:v>
                </c:pt>
                <c:pt idx="153">
                  <c:v>78925</c:v>
                </c:pt>
                <c:pt idx="154">
                  <c:v>79110</c:v>
                </c:pt>
                <c:pt idx="155">
                  <c:v>79276</c:v>
                </c:pt>
                <c:pt idx="156">
                  <c:v>79613</c:v>
                </c:pt>
                <c:pt idx="157">
                  <c:v>79982</c:v>
                </c:pt>
                <c:pt idx="158">
                  <c:v>80428</c:v>
                </c:pt>
                <c:pt idx="159">
                  <c:v>80840</c:v>
                </c:pt>
                <c:pt idx="160">
                  <c:v>81298</c:v>
                </c:pt>
                <c:pt idx="161">
                  <c:v>81553</c:v>
                </c:pt>
                <c:pt idx="162">
                  <c:v>81788</c:v>
                </c:pt>
                <c:pt idx="163">
                  <c:v>82260</c:v>
                </c:pt>
                <c:pt idx="164">
                  <c:v>82798</c:v>
                </c:pt>
                <c:pt idx="165">
                  <c:v>83276</c:v>
                </c:pt>
                <c:pt idx="166">
                  <c:v>83706</c:v>
                </c:pt>
                <c:pt idx="167">
                  <c:v>84157</c:v>
                </c:pt>
                <c:pt idx="168">
                  <c:v>84440</c:v>
                </c:pt>
                <c:pt idx="169">
                  <c:v>84660</c:v>
                </c:pt>
                <c:pt idx="170">
                  <c:v>85015</c:v>
                </c:pt>
                <c:pt idx="171">
                  <c:v>85428</c:v>
                </c:pt>
                <c:pt idx="172">
                  <c:v>85813</c:v>
                </c:pt>
                <c:pt idx="173">
                  <c:v>86170</c:v>
                </c:pt>
                <c:pt idx="174">
                  <c:v>86536</c:v>
                </c:pt>
                <c:pt idx="175">
                  <c:v>86721</c:v>
                </c:pt>
                <c:pt idx="176">
                  <c:v>86859</c:v>
                </c:pt>
                <c:pt idx="177">
                  <c:v>87147</c:v>
                </c:pt>
                <c:pt idx="178">
                  <c:v>87462</c:v>
                </c:pt>
                <c:pt idx="179">
                  <c:v>87713</c:v>
                </c:pt>
                <c:pt idx="180">
                  <c:v>87999</c:v>
                </c:pt>
                <c:pt idx="181">
                  <c:v>88248</c:v>
                </c:pt>
                <c:pt idx="182">
                  <c:v>88396</c:v>
                </c:pt>
                <c:pt idx="183">
                  <c:v>88503</c:v>
                </c:pt>
                <c:pt idx="184">
                  <c:v>88770</c:v>
                </c:pt>
                <c:pt idx="185">
                  <c:v>89013</c:v>
                </c:pt>
                <c:pt idx="186">
                  <c:v>89249</c:v>
                </c:pt>
                <c:pt idx="187">
                  <c:v>89424</c:v>
                </c:pt>
                <c:pt idx="188">
                  <c:v>89655</c:v>
                </c:pt>
                <c:pt idx="189">
                  <c:v>89709</c:v>
                </c:pt>
                <c:pt idx="190">
                  <c:v>89766</c:v>
                </c:pt>
                <c:pt idx="191">
                  <c:v>89820</c:v>
                </c:pt>
                <c:pt idx="192">
                  <c:v>89876</c:v>
                </c:pt>
                <c:pt idx="193">
                  <c:v>90082</c:v>
                </c:pt>
                <c:pt idx="194">
                  <c:v>90294</c:v>
                </c:pt>
                <c:pt idx="195">
                  <c:v>90516</c:v>
                </c:pt>
                <c:pt idx="196">
                  <c:v>90608</c:v>
                </c:pt>
                <c:pt idx="197">
                  <c:v>90665</c:v>
                </c:pt>
                <c:pt idx="198">
                  <c:v>90895</c:v>
                </c:pt>
                <c:pt idx="199">
                  <c:v>91113</c:v>
                </c:pt>
                <c:pt idx="200">
                  <c:v>91343</c:v>
                </c:pt>
                <c:pt idx="201">
                  <c:v>91586</c:v>
                </c:pt>
                <c:pt idx="202">
                  <c:v>91832</c:v>
                </c:pt>
                <c:pt idx="203">
                  <c:v>91938</c:v>
                </c:pt>
                <c:pt idx="204">
                  <c:v>92006</c:v>
                </c:pt>
                <c:pt idx="205">
                  <c:v>92205</c:v>
                </c:pt>
                <c:pt idx="206">
                  <c:v>92363</c:v>
                </c:pt>
                <c:pt idx="207">
                  <c:v>92579</c:v>
                </c:pt>
                <c:pt idx="208">
                  <c:v>92759</c:v>
                </c:pt>
                <c:pt idx="209">
                  <c:v>92968</c:v>
                </c:pt>
                <c:pt idx="210">
                  <c:v>93030</c:v>
                </c:pt>
                <c:pt idx="211">
                  <c:v>93082</c:v>
                </c:pt>
                <c:pt idx="212">
                  <c:v>93261</c:v>
                </c:pt>
                <c:pt idx="213">
                  <c:v>93459</c:v>
                </c:pt>
                <c:pt idx="214">
                  <c:v>93630</c:v>
                </c:pt>
                <c:pt idx="215">
                  <c:v>93786</c:v>
                </c:pt>
                <c:pt idx="216">
                  <c:v>93992</c:v>
                </c:pt>
                <c:pt idx="217">
                  <c:v>94058</c:v>
                </c:pt>
                <c:pt idx="218">
                  <c:v>94106</c:v>
                </c:pt>
                <c:pt idx="219">
                  <c:v>94251</c:v>
                </c:pt>
                <c:pt idx="220">
                  <c:v>94378</c:v>
                </c:pt>
                <c:pt idx="221">
                  <c:v>94523</c:v>
                </c:pt>
                <c:pt idx="222">
                  <c:v>94647</c:v>
                </c:pt>
                <c:pt idx="223">
                  <c:v>94774</c:v>
                </c:pt>
                <c:pt idx="224">
                  <c:v>94811</c:v>
                </c:pt>
                <c:pt idx="225">
                  <c:v>94843</c:v>
                </c:pt>
                <c:pt idx="226">
                  <c:v>94945</c:v>
                </c:pt>
                <c:pt idx="227">
                  <c:v>95058</c:v>
                </c:pt>
                <c:pt idx="228">
                  <c:v>95132</c:v>
                </c:pt>
                <c:pt idx="229">
                  <c:v>95234</c:v>
                </c:pt>
                <c:pt idx="230">
                  <c:v>95335</c:v>
                </c:pt>
                <c:pt idx="231">
                  <c:v>95359</c:v>
                </c:pt>
                <c:pt idx="232">
                  <c:v>95377</c:v>
                </c:pt>
                <c:pt idx="233">
                  <c:v>95456</c:v>
                </c:pt>
                <c:pt idx="234">
                  <c:v>95535</c:v>
                </c:pt>
                <c:pt idx="235">
                  <c:v>95612</c:v>
                </c:pt>
                <c:pt idx="236">
                  <c:v>95682</c:v>
                </c:pt>
                <c:pt idx="237">
                  <c:v>95777</c:v>
                </c:pt>
                <c:pt idx="238">
                  <c:v>95795</c:v>
                </c:pt>
                <c:pt idx="239">
                  <c:v>95812</c:v>
                </c:pt>
                <c:pt idx="240">
                  <c:v>95904</c:v>
                </c:pt>
                <c:pt idx="241">
                  <c:v>95980</c:v>
                </c:pt>
                <c:pt idx="242">
                  <c:v>96055</c:v>
                </c:pt>
                <c:pt idx="243">
                  <c:v>96116</c:v>
                </c:pt>
                <c:pt idx="244">
                  <c:v>96216</c:v>
                </c:pt>
                <c:pt idx="245">
                  <c:v>96240</c:v>
                </c:pt>
                <c:pt idx="246">
                  <c:v>96250</c:v>
                </c:pt>
                <c:pt idx="247">
                  <c:v>96327</c:v>
                </c:pt>
                <c:pt idx="248">
                  <c:v>96405</c:v>
                </c:pt>
                <c:pt idx="249">
                  <c:v>96450</c:v>
                </c:pt>
                <c:pt idx="250">
                  <c:v>96523</c:v>
                </c:pt>
                <c:pt idx="251">
                  <c:v>96615</c:v>
                </c:pt>
                <c:pt idx="252">
                  <c:v>96630</c:v>
                </c:pt>
                <c:pt idx="253">
                  <c:v>96648</c:v>
                </c:pt>
                <c:pt idx="254">
                  <c:v>96711</c:v>
                </c:pt>
                <c:pt idx="255">
                  <c:v>96746</c:v>
                </c:pt>
                <c:pt idx="256">
                  <c:v>96799</c:v>
                </c:pt>
                <c:pt idx="257">
                  <c:v>96856</c:v>
                </c:pt>
                <c:pt idx="258">
                  <c:v>96923</c:v>
                </c:pt>
                <c:pt idx="259">
                  <c:v>96938</c:v>
                </c:pt>
                <c:pt idx="260">
                  <c:v>96951</c:v>
                </c:pt>
                <c:pt idx="261">
                  <c:v>96999</c:v>
                </c:pt>
                <c:pt idx="262">
                  <c:v>97050</c:v>
                </c:pt>
                <c:pt idx="263">
                  <c:v>97095</c:v>
                </c:pt>
                <c:pt idx="264">
                  <c:v>97141</c:v>
                </c:pt>
                <c:pt idx="265">
                  <c:v>97211</c:v>
                </c:pt>
                <c:pt idx="266">
                  <c:v>97230</c:v>
                </c:pt>
                <c:pt idx="267">
                  <c:v>97235</c:v>
                </c:pt>
                <c:pt idx="268">
                  <c:v>97277</c:v>
                </c:pt>
                <c:pt idx="269">
                  <c:v>97319</c:v>
                </c:pt>
                <c:pt idx="270">
                  <c:v>97360</c:v>
                </c:pt>
                <c:pt idx="271">
                  <c:v>97414</c:v>
                </c:pt>
                <c:pt idx="272">
                  <c:v>97483</c:v>
                </c:pt>
                <c:pt idx="273">
                  <c:v>97497</c:v>
                </c:pt>
                <c:pt idx="274">
                  <c:v>97503</c:v>
                </c:pt>
                <c:pt idx="275">
                  <c:v>97543</c:v>
                </c:pt>
                <c:pt idx="276">
                  <c:v>97547</c:v>
                </c:pt>
                <c:pt idx="277">
                  <c:v>97571</c:v>
                </c:pt>
                <c:pt idx="278">
                  <c:v>97614</c:v>
                </c:pt>
                <c:pt idx="279">
                  <c:v>97650</c:v>
                </c:pt>
                <c:pt idx="280">
                  <c:v>97658</c:v>
                </c:pt>
                <c:pt idx="281">
                  <c:v>97664</c:v>
                </c:pt>
                <c:pt idx="282">
                  <c:v>97693</c:v>
                </c:pt>
                <c:pt idx="283">
                  <c:v>97716</c:v>
                </c:pt>
                <c:pt idx="284">
                  <c:v>97749</c:v>
                </c:pt>
                <c:pt idx="285">
                  <c:v>97773</c:v>
                </c:pt>
                <c:pt idx="286">
                  <c:v>97819</c:v>
                </c:pt>
                <c:pt idx="287">
                  <c:v>978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9B2-46E3-85FE-A83BCF6CC085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  <c:pt idx="0">
                  <c:v>Lékaři</c:v>
                </c:pt>
              </c:strCache>
            </c:strRef>
          </c:tx>
          <c:spPr>
            <a:ln w="28575" cap="rnd">
              <a:solidFill>
                <a:srgbClr val="4472C4"/>
              </a:solidFill>
              <a:round/>
            </a:ln>
            <a:effectLst/>
          </c:spPr>
          <c:marker>
            <c:symbol val="none"/>
          </c:marker>
          <c:cat>
            <c:strRef>
              <c:f>List1!$B$1:$KC$1</c:f>
              <c:strCache>
                <c:ptCount val="288"/>
                <c:pt idx="0">
                  <c:v>26-XII.</c:v>
                </c:pt>
                <c:pt idx="1">
                  <c:v>27-XII.</c:v>
                </c:pt>
                <c:pt idx="2">
                  <c:v>28-XII.</c:v>
                </c:pt>
                <c:pt idx="3">
                  <c:v>29-XII.</c:v>
                </c:pt>
                <c:pt idx="4">
                  <c:v>30-XII.</c:v>
                </c:pt>
                <c:pt idx="5">
                  <c:v>31-XII.</c:v>
                </c:pt>
                <c:pt idx="6">
                  <c:v>1-I.</c:v>
                </c:pt>
                <c:pt idx="7">
                  <c:v>2-I.</c:v>
                </c:pt>
                <c:pt idx="8">
                  <c:v>3-I.</c:v>
                </c:pt>
                <c:pt idx="9">
                  <c:v>4-I.</c:v>
                </c:pt>
                <c:pt idx="10">
                  <c:v>5-I.</c:v>
                </c:pt>
                <c:pt idx="11">
                  <c:v>6-I.</c:v>
                </c:pt>
                <c:pt idx="12">
                  <c:v>7-I.</c:v>
                </c:pt>
                <c:pt idx="13">
                  <c:v>8-I.</c:v>
                </c:pt>
                <c:pt idx="14">
                  <c:v>9-I.</c:v>
                </c:pt>
                <c:pt idx="15">
                  <c:v>10-I.</c:v>
                </c:pt>
                <c:pt idx="16">
                  <c:v>11-I.</c:v>
                </c:pt>
                <c:pt idx="17">
                  <c:v>12-I.</c:v>
                </c:pt>
                <c:pt idx="18">
                  <c:v>13-I.</c:v>
                </c:pt>
                <c:pt idx="19">
                  <c:v>14-I.</c:v>
                </c:pt>
                <c:pt idx="20">
                  <c:v>15-I.</c:v>
                </c:pt>
                <c:pt idx="21">
                  <c:v>16-I.</c:v>
                </c:pt>
                <c:pt idx="22">
                  <c:v>17-I.</c:v>
                </c:pt>
                <c:pt idx="23">
                  <c:v>18-I.</c:v>
                </c:pt>
                <c:pt idx="24">
                  <c:v>19-I.</c:v>
                </c:pt>
                <c:pt idx="25">
                  <c:v>20-I.</c:v>
                </c:pt>
                <c:pt idx="26">
                  <c:v>21-I.</c:v>
                </c:pt>
                <c:pt idx="27">
                  <c:v>22-I.</c:v>
                </c:pt>
                <c:pt idx="28">
                  <c:v>23-I.</c:v>
                </c:pt>
                <c:pt idx="29">
                  <c:v>24-I.</c:v>
                </c:pt>
                <c:pt idx="30">
                  <c:v>25-I.</c:v>
                </c:pt>
                <c:pt idx="31">
                  <c:v>26-I.</c:v>
                </c:pt>
                <c:pt idx="32">
                  <c:v>27-I.</c:v>
                </c:pt>
                <c:pt idx="33">
                  <c:v>28-I.</c:v>
                </c:pt>
                <c:pt idx="34">
                  <c:v>29-I.</c:v>
                </c:pt>
                <c:pt idx="35">
                  <c:v>30-I.</c:v>
                </c:pt>
                <c:pt idx="36">
                  <c:v>31-I.</c:v>
                </c:pt>
                <c:pt idx="37">
                  <c:v>1-II.</c:v>
                </c:pt>
                <c:pt idx="38">
                  <c:v>2-II.</c:v>
                </c:pt>
                <c:pt idx="39">
                  <c:v>3-II.</c:v>
                </c:pt>
                <c:pt idx="40">
                  <c:v>4-II.</c:v>
                </c:pt>
                <c:pt idx="41">
                  <c:v>5-II.</c:v>
                </c:pt>
                <c:pt idx="42">
                  <c:v>6-II.</c:v>
                </c:pt>
                <c:pt idx="43">
                  <c:v>7-II.</c:v>
                </c:pt>
                <c:pt idx="44">
                  <c:v>8-II.</c:v>
                </c:pt>
                <c:pt idx="45">
                  <c:v>9-II.</c:v>
                </c:pt>
                <c:pt idx="46">
                  <c:v>10-II.</c:v>
                </c:pt>
                <c:pt idx="47">
                  <c:v>11-II.</c:v>
                </c:pt>
                <c:pt idx="48">
                  <c:v>12-II.</c:v>
                </c:pt>
                <c:pt idx="49">
                  <c:v>13-II.</c:v>
                </c:pt>
                <c:pt idx="50">
                  <c:v>14-II.</c:v>
                </c:pt>
                <c:pt idx="51">
                  <c:v>15-II.</c:v>
                </c:pt>
                <c:pt idx="52">
                  <c:v>16-II.</c:v>
                </c:pt>
                <c:pt idx="53">
                  <c:v>17-II.</c:v>
                </c:pt>
                <c:pt idx="54">
                  <c:v>18-II.</c:v>
                </c:pt>
                <c:pt idx="55">
                  <c:v>19-II.</c:v>
                </c:pt>
                <c:pt idx="56">
                  <c:v>20-II.</c:v>
                </c:pt>
                <c:pt idx="57">
                  <c:v>21-II.</c:v>
                </c:pt>
                <c:pt idx="58">
                  <c:v>22-II.</c:v>
                </c:pt>
                <c:pt idx="59">
                  <c:v>23-II.</c:v>
                </c:pt>
                <c:pt idx="60">
                  <c:v>24-II.</c:v>
                </c:pt>
                <c:pt idx="61">
                  <c:v>25-II.</c:v>
                </c:pt>
                <c:pt idx="62">
                  <c:v>26-II.</c:v>
                </c:pt>
                <c:pt idx="63">
                  <c:v>27-II.</c:v>
                </c:pt>
                <c:pt idx="64">
                  <c:v>28-II.</c:v>
                </c:pt>
                <c:pt idx="65">
                  <c:v>1-III.</c:v>
                </c:pt>
                <c:pt idx="66">
                  <c:v>2-III.</c:v>
                </c:pt>
                <c:pt idx="67">
                  <c:v>3-III.</c:v>
                </c:pt>
                <c:pt idx="68">
                  <c:v>4-III.</c:v>
                </c:pt>
                <c:pt idx="69">
                  <c:v>5-III.</c:v>
                </c:pt>
                <c:pt idx="70">
                  <c:v>6-III.</c:v>
                </c:pt>
                <c:pt idx="71">
                  <c:v>7-III.</c:v>
                </c:pt>
                <c:pt idx="72">
                  <c:v>8-III.</c:v>
                </c:pt>
                <c:pt idx="73">
                  <c:v>9-III.</c:v>
                </c:pt>
                <c:pt idx="74">
                  <c:v>10-III.</c:v>
                </c:pt>
                <c:pt idx="75">
                  <c:v>11-III.</c:v>
                </c:pt>
                <c:pt idx="76">
                  <c:v>12-III.</c:v>
                </c:pt>
                <c:pt idx="77">
                  <c:v>13-III.</c:v>
                </c:pt>
                <c:pt idx="78">
                  <c:v>14-III.</c:v>
                </c:pt>
                <c:pt idx="79">
                  <c:v>15-III.</c:v>
                </c:pt>
                <c:pt idx="80">
                  <c:v>16-III.</c:v>
                </c:pt>
                <c:pt idx="81">
                  <c:v>17-III.</c:v>
                </c:pt>
                <c:pt idx="82">
                  <c:v>18-III.</c:v>
                </c:pt>
                <c:pt idx="83">
                  <c:v>19-III.</c:v>
                </c:pt>
                <c:pt idx="84">
                  <c:v>20-III.</c:v>
                </c:pt>
                <c:pt idx="85">
                  <c:v>21-III.</c:v>
                </c:pt>
                <c:pt idx="86">
                  <c:v>22-III.</c:v>
                </c:pt>
                <c:pt idx="87">
                  <c:v>23-III.</c:v>
                </c:pt>
                <c:pt idx="88">
                  <c:v>24-III.</c:v>
                </c:pt>
                <c:pt idx="89">
                  <c:v>25-III.</c:v>
                </c:pt>
                <c:pt idx="90">
                  <c:v>26-III.</c:v>
                </c:pt>
                <c:pt idx="91">
                  <c:v>27-III.</c:v>
                </c:pt>
                <c:pt idx="92">
                  <c:v>28-III.</c:v>
                </c:pt>
                <c:pt idx="93">
                  <c:v>29-III.</c:v>
                </c:pt>
                <c:pt idx="94">
                  <c:v>30-III.</c:v>
                </c:pt>
                <c:pt idx="95">
                  <c:v>31-III.</c:v>
                </c:pt>
                <c:pt idx="96">
                  <c:v>1-IV.</c:v>
                </c:pt>
                <c:pt idx="97">
                  <c:v>2-IV.</c:v>
                </c:pt>
                <c:pt idx="98">
                  <c:v>3-IV.</c:v>
                </c:pt>
                <c:pt idx="99">
                  <c:v>4-IV.</c:v>
                </c:pt>
                <c:pt idx="100">
                  <c:v>5-IV.</c:v>
                </c:pt>
                <c:pt idx="101">
                  <c:v>6-IV.</c:v>
                </c:pt>
                <c:pt idx="102">
                  <c:v>7-IV.</c:v>
                </c:pt>
                <c:pt idx="103">
                  <c:v>8-IV.</c:v>
                </c:pt>
                <c:pt idx="104">
                  <c:v>9-IV.</c:v>
                </c:pt>
                <c:pt idx="105">
                  <c:v>10-IV.</c:v>
                </c:pt>
                <c:pt idx="106">
                  <c:v>11-IV.</c:v>
                </c:pt>
                <c:pt idx="107">
                  <c:v>12-IV.</c:v>
                </c:pt>
                <c:pt idx="108">
                  <c:v>13-IV.</c:v>
                </c:pt>
                <c:pt idx="109">
                  <c:v>14-IV.</c:v>
                </c:pt>
                <c:pt idx="110">
                  <c:v>15-IV.</c:v>
                </c:pt>
                <c:pt idx="111">
                  <c:v>16-IV.</c:v>
                </c:pt>
                <c:pt idx="112">
                  <c:v>17-IV.</c:v>
                </c:pt>
                <c:pt idx="113">
                  <c:v>18-IV.</c:v>
                </c:pt>
                <c:pt idx="114">
                  <c:v>19-IV.</c:v>
                </c:pt>
                <c:pt idx="115">
                  <c:v>20-IV.</c:v>
                </c:pt>
                <c:pt idx="116">
                  <c:v>21-IV.</c:v>
                </c:pt>
                <c:pt idx="117">
                  <c:v>22-IV.</c:v>
                </c:pt>
                <c:pt idx="118">
                  <c:v>23-IV.</c:v>
                </c:pt>
                <c:pt idx="119">
                  <c:v>24-IV.</c:v>
                </c:pt>
                <c:pt idx="120">
                  <c:v>25-IV.</c:v>
                </c:pt>
                <c:pt idx="121">
                  <c:v>26-IV.</c:v>
                </c:pt>
                <c:pt idx="122">
                  <c:v>27-IV.</c:v>
                </c:pt>
                <c:pt idx="123">
                  <c:v>28-IV.</c:v>
                </c:pt>
                <c:pt idx="124">
                  <c:v>29-IV.</c:v>
                </c:pt>
                <c:pt idx="125">
                  <c:v>30-IV.</c:v>
                </c:pt>
                <c:pt idx="126">
                  <c:v>1-V.</c:v>
                </c:pt>
                <c:pt idx="127">
                  <c:v>2-V.</c:v>
                </c:pt>
                <c:pt idx="128">
                  <c:v>3-V.</c:v>
                </c:pt>
                <c:pt idx="129">
                  <c:v>4-V.</c:v>
                </c:pt>
                <c:pt idx="130">
                  <c:v>5-V.</c:v>
                </c:pt>
                <c:pt idx="131">
                  <c:v>6-V.</c:v>
                </c:pt>
                <c:pt idx="132">
                  <c:v>7-V.</c:v>
                </c:pt>
                <c:pt idx="133">
                  <c:v>8-V.</c:v>
                </c:pt>
                <c:pt idx="134">
                  <c:v>9-V.</c:v>
                </c:pt>
                <c:pt idx="135">
                  <c:v>10-V.</c:v>
                </c:pt>
                <c:pt idx="136">
                  <c:v>11-V.</c:v>
                </c:pt>
                <c:pt idx="137">
                  <c:v>12-V.</c:v>
                </c:pt>
                <c:pt idx="138">
                  <c:v>13-V.</c:v>
                </c:pt>
                <c:pt idx="139">
                  <c:v>14-V.</c:v>
                </c:pt>
                <c:pt idx="140">
                  <c:v>15-V.</c:v>
                </c:pt>
                <c:pt idx="141">
                  <c:v>16-V.</c:v>
                </c:pt>
                <c:pt idx="142">
                  <c:v>17-V.</c:v>
                </c:pt>
                <c:pt idx="143">
                  <c:v>18-V.</c:v>
                </c:pt>
                <c:pt idx="144">
                  <c:v>19-V.</c:v>
                </c:pt>
                <c:pt idx="145">
                  <c:v>20-V.</c:v>
                </c:pt>
                <c:pt idx="146">
                  <c:v>21-V.</c:v>
                </c:pt>
                <c:pt idx="147">
                  <c:v>22-V.</c:v>
                </c:pt>
                <c:pt idx="148">
                  <c:v>23-V.</c:v>
                </c:pt>
                <c:pt idx="149">
                  <c:v>24-V.</c:v>
                </c:pt>
                <c:pt idx="150">
                  <c:v>25-V.</c:v>
                </c:pt>
                <c:pt idx="151">
                  <c:v>26-V.</c:v>
                </c:pt>
                <c:pt idx="152">
                  <c:v>27-V.</c:v>
                </c:pt>
                <c:pt idx="153">
                  <c:v>28-V.</c:v>
                </c:pt>
                <c:pt idx="154">
                  <c:v>29-V.</c:v>
                </c:pt>
                <c:pt idx="155">
                  <c:v>30-V.</c:v>
                </c:pt>
                <c:pt idx="156">
                  <c:v>31-V.</c:v>
                </c:pt>
                <c:pt idx="157">
                  <c:v>1-VI.</c:v>
                </c:pt>
                <c:pt idx="158">
                  <c:v>2-VI.</c:v>
                </c:pt>
                <c:pt idx="159">
                  <c:v>3-VI.</c:v>
                </c:pt>
                <c:pt idx="160">
                  <c:v>4-VI.</c:v>
                </c:pt>
                <c:pt idx="161">
                  <c:v>5-VI.</c:v>
                </c:pt>
                <c:pt idx="162">
                  <c:v>6-VI.</c:v>
                </c:pt>
                <c:pt idx="163">
                  <c:v>7-VI.</c:v>
                </c:pt>
                <c:pt idx="164">
                  <c:v>8-VI.</c:v>
                </c:pt>
                <c:pt idx="165">
                  <c:v>9-VI.</c:v>
                </c:pt>
                <c:pt idx="166">
                  <c:v>10-VI.</c:v>
                </c:pt>
                <c:pt idx="167">
                  <c:v>11-VI.</c:v>
                </c:pt>
                <c:pt idx="168">
                  <c:v>12-VI.</c:v>
                </c:pt>
                <c:pt idx="169">
                  <c:v>13-VI.</c:v>
                </c:pt>
                <c:pt idx="170">
                  <c:v>14-VI.</c:v>
                </c:pt>
                <c:pt idx="171">
                  <c:v>15-VI.</c:v>
                </c:pt>
                <c:pt idx="172">
                  <c:v>16-VI.</c:v>
                </c:pt>
                <c:pt idx="173">
                  <c:v>17-VI.</c:v>
                </c:pt>
                <c:pt idx="174">
                  <c:v>18-VI.</c:v>
                </c:pt>
                <c:pt idx="175">
                  <c:v>19-VI.</c:v>
                </c:pt>
                <c:pt idx="176">
                  <c:v>20-VI.</c:v>
                </c:pt>
                <c:pt idx="177">
                  <c:v>21-VI.</c:v>
                </c:pt>
                <c:pt idx="178">
                  <c:v>22-VI.</c:v>
                </c:pt>
                <c:pt idx="179">
                  <c:v>23-VI.</c:v>
                </c:pt>
                <c:pt idx="180">
                  <c:v>24-VI.</c:v>
                </c:pt>
                <c:pt idx="181">
                  <c:v>25-VI.</c:v>
                </c:pt>
                <c:pt idx="182">
                  <c:v>26-VI.</c:v>
                </c:pt>
                <c:pt idx="183">
                  <c:v>27-VI.</c:v>
                </c:pt>
                <c:pt idx="184">
                  <c:v>28-VI.</c:v>
                </c:pt>
                <c:pt idx="185">
                  <c:v>29-VI.</c:v>
                </c:pt>
                <c:pt idx="186">
                  <c:v>30-VI.</c:v>
                </c:pt>
                <c:pt idx="187">
                  <c:v>1-VII.</c:v>
                </c:pt>
                <c:pt idx="188">
                  <c:v>2-VII.</c:v>
                </c:pt>
                <c:pt idx="189">
                  <c:v>3-VII.</c:v>
                </c:pt>
                <c:pt idx="190">
                  <c:v>4-VII.</c:v>
                </c:pt>
                <c:pt idx="191">
                  <c:v>5-VII.</c:v>
                </c:pt>
                <c:pt idx="192">
                  <c:v>6-VII.</c:v>
                </c:pt>
                <c:pt idx="193">
                  <c:v>7-VII.</c:v>
                </c:pt>
                <c:pt idx="194">
                  <c:v>8-VII.</c:v>
                </c:pt>
                <c:pt idx="195">
                  <c:v>9-VII.</c:v>
                </c:pt>
                <c:pt idx="196">
                  <c:v>10-VII.</c:v>
                </c:pt>
                <c:pt idx="197">
                  <c:v>11-VII.</c:v>
                </c:pt>
                <c:pt idx="198">
                  <c:v>12-VII.</c:v>
                </c:pt>
                <c:pt idx="199">
                  <c:v>13-VII.</c:v>
                </c:pt>
                <c:pt idx="200">
                  <c:v>14-VII.</c:v>
                </c:pt>
                <c:pt idx="201">
                  <c:v>15-VII.</c:v>
                </c:pt>
                <c:pt idx="202">
                  <c:v>16-VII.</c:v>
                </c:pt>
                <c:pt idx="203">
                  <c:v>17-VII.</c:v>
                </c:pt>
                <c:pt idx="204">
                  <c:v>18-VII.</c:v>
                </c:pt>
                <c:pt idx="205">
                  <c:v>19-VII.</c:v>
                </c:pt>
                <c:pt idx="206">
                  <c:v>20-VII.</c:v>
                </c:pt>
                <c:pt idx="207">
                  <c:v>21-VII.</c:v>
                </c:pt>
                <c:pt idx="208">
                  <c:v>22-VII.</c:v>
                </c:pt>
                <c:pt idx="209">
                  <c:v>23-VII.</c:v>
                </c:pt>
                <c:pt idx="210">
                  <c:v>24-VII.</c:v>
                </c:pt>
                <c:pt idx="211">
                  <c:v>25-VII.</c:v>
                </c:pt>
                <c:pt idx="212">
                  <c:v>26-VII.</c:v>
                </c:pt>
                <c:pt idx="213">
                  <c:v>27-VII.</c:v>
                </c:pt>
                <c:pt idx="214">
                  <c:v>28-VII.</c:v>
                </c:pt>
                <c:pt idx="215">
                  <c:v>29-VII.</c:v>
                </c:pt>
                <c:pt idx="216">
                  <c:v>30-VII.</c:v>
                </c:pt>
                <c:pt idx="217">
                  <c:v>31-VII.</c:v>
                </c:pt>
                <c:pt idx="218">
                  <c:v>1-VIII.</c:v>
                </c:pt>
                <c:pt idx="219">
                  <c:v>2-VIII.</c:v>
                </c:pt>
                <c:pt idx="220">
                  <c:v>3-VIII.</c:v>
                </c:pt>
                <c:pt idx="221">
                  <c:v>4-VIII.</c:v>
                </c:pt>
                <c:pt idx="222">
                  <c:v>5-VIII.</c:v>
                </c:pt>
                <c:pt idx="223">
                  <c:v>6-VIII.</c:v>
                </c:pt>
                <c:pt idx="224">
                  <c:v>7-VIII.</c:v>
                </c:pt>
                <c:pt idx="225">
                  <c:v>8-VIII.</c:v>
                </c:pt>
                <c:pt idx="226">
                  <c:v>9-VIII.</c:v>
                </c:pt>
                <c:pt idx="227">
                  <c:v>10-VIII.</c:v>
                </c:pt>
                <c:pt idx="228">
                  <c:v>11-VIII.</c:v>
                </c:pt>
                <c:pt idx="229">
                  <c:v>12-VIII.</c:v>
                </c:pt>
                <c:pt idx="230">
                  <c:v>13-VIII.</c:v>
                </c:pt>
                <c:pt idx="231">
                  <c:v>14-VIII.</c:v>
                </c:pt>
                <c:pt idx="232">
                  <c:v>15-VIII.</c:v>
                </c:pt>
                <c:pt idx="233">
                  <c:v>16-VIII.</c:v>
                </c:pt>
                <c:pt idx="234">
                  <c:v>17-VIII.</c:v>
                </c:pt>
                <c:pt idx="235">
                  <c:v>18-VIII.</c:v>
                </c:pt>
                <c:pt idx="236">
                  <c:v>19-VIII.</c:v>
                </c:pt>
                <c:pt idx="237">
                  <c:v>20-VIII.</c:v>
                </c:pt>
                <c:pt idx="238">
                  <c:v>21-VIII.</c:v>
                </c:pt>
                <c:pt idx="239">
                  <c:v>22-VIII.</c:v>
                </c:pt>
                <c:pt idx="240">
                  <c:v>23-VIII.</c:v>
                </c:pt>
                <c:pt idx="241">
                  <c:v>24-VIII.</c:v>
                </c:pt>
                <c:pt idx="242">
                  <c:v>25-VIII.</c:v>
                </c:pt>
                <c:pt idx="243">
                  <c:v>26-VIII.</c:v>
                </c:pt>
                <c:pt idx="244">
                  <c:v>27-VIII.</c:v>
                </c:pt>
                <c:pt idx="245">
                  <c:v>28-VIII.</c:v>
                </c:pt>
                <c:pt idx="246">
                  <c:v>29-VIII.</c:v>
                </c:pt>
                <c:pt idx="247">
                  <c:v>30-VIII.</c:v>
                </c:pt>
                <c:pt idx="248">
                  <c:v>31-VIII.</c:v>
                </c:pt>
                <c:pt idx="249">
                  <c:v>1-IX.</c:v>
                </c:pt>
                <c:pt idx="250">
                  <c:v>2-IX.</c:v>
                </c:pt>
                <c:pt idx="251">
                  <c:v>3-IX.</c:v>
                </c:pt>
                <c:pt idx="252">
                  <c:v>4-IX.</c:v>
                </c:pt>
                <c:pt idx="253">
                  <c:v>5-IX.</c:v>
                </c:pt>
                <c:pt idx="254">
                  <c:v>6-IX.</c:v>
                </c:pt>
                <c:pt idx="255">
                  <c:v>7-IX.</c:v>
                </c:pt>
                <c:pt idx="256">
                  <c:v>8-IX.</c:v>
                </c:pt>
                <c:pt idx="257">
                  <c:v>9-IX.</c:v>
                </c:pt>
                <c:pt idx="258">
                  <c:v>10-IX.</c:v>
                </c:pt>
                <c:pt idx="259">
                  <c:v>11-IX.</c:v>
                </c:pt>
                <c:pt idx="260">
                  <c:v>12-IX.</c:v>
                </c:pt>
                <c:pt idx="261">
                  <c:v>13-IX.</c:v>
                </c:pt>
                <c:pt idx="262">
                  <c:v>14-IX.</c:v>
                </c:pt>
                <c:pt idx="263">
                  <c:v>15-IX.</c:v>
                </c:pt>
                <c:pt idx="264">
                  <c:v>16-IX.</c:v>
                </c:pt>
                <c:pt idx="265">
                  <c:v>17-IX.</c:v>
                </c:pt>
                <c:pt idx="266">
                  <c:v>18-IX.</c:v>
                </c:pt>
                <c:pt idx="267">
                  <c:v>19-IX.</c:v>
                </c:pt>
                <c:pt idx="268">
                  <c:v>20-IX.</c:v>
                </c:pt>
                <c:pt idx="269">
                  <c:v>21-IX.</c:v>
                </c:pt>
                <c:pt idx="270">
                  <c:v>22-IX.</c:v>
                </c:pt>
                <c:pt idx="271">
                  <c:v>23-IX.</c:v>
                </c:pt>
                <c:pt idx="272">
                  <c:v>24-IX.</c:v>
                </c:pt>
                <c:pt idx="273">
                  <c:v>25-IX.</c:v>
                </c:pt>
                <c:pt idx="274">
                  <c:v>26-IX.</c:v>
                </c:pt>
                <c:pt idx="275">
                  <c:v>27-IX.</c:v>
                </c:pt>
                <c:pt idx="276">
                  <c:v>28-IX.</c:v>
                </c:pt>
                <c:pt idx="277">
                  <c:v>29-IX.</c:v>
                </c:pt>
                <c:pt idx="278">
                  <c:v>30-IX.</c:v>
                </c:pt>
                <c:pt idx="279">
                  <c:v>1-X.</c:v>
                </c:pt>
                <c:pt idx="280">
                  <c:v>2-X.</c:v>
                </c:pt>
                <c:pt idx="281">
                  <c:v>3-X.</c:v>
                </c:pt>
                <c:pt idx="282">
                  <c:v>4-X.</c:v>
                </c:pt>
                <c:pt idx="283">
                  <c:v>5-X.</c:v>
                </c:pt>
                <c:pt idx="284">
                  <c:v>6-X.</c:v>
                </c:pt>
                <c:pt idx="285">
                  <c:v>7-X.</c:v>
                </c:pt>
                <c:pt idx="286">
                  <c:v>8-X.</c:v>
                </c:pt>
                <c:pt idx="287">
                  <c:v>9-X.</c:v>
                </c:pt>
              </c:strCache>
            </c:strRef>
          </c:cat>
          <c:val>
            <c:numRef>
              <c:f>List1!$B$5:$KC$5</c:f>
              <c:numCache>
                <c:formatCode>General</c:formatCode>
                <c:ptCount val="288"/>
                <c:pt idx="1">
                  <c:v>442</c:v>
                </c:pt>
                <c:pt idx="2">
                  <c:v>1186</c:v>
                </c:pt>
                <c:pt idx="3">
                  <c:v>2140</c:v>
                </c:pt>
                <c:pt idx="4">
                  <c:v>3084</c:v>
                </c:pt>
                <c:pt idx="5">
                  <c:v>3425</c:v>
                </c:pt>
                <c:pt idx="6">
                  <c:v>3514</c:v>
                </c:pt>
                <c:pt idx="7">
                  <c:v>3909</c:v>
                </c:pt>
                <c:pt idx="8">
                  <c:v>4225</c:v>
                </c:pt>
                <c:pt idx="9">
                  <c:v>5426</c:v>
                </c:pt>
                <c:pt idx="10">
                  <c:v>6745</c:v>
                </c:pt>
                <c:pt idx="11">
                  <c:v>8245</c:v>
                </c:pt>
                <c:pt idx="12">
                  <c:v>9931</c:v>
                </c:pt>
                <c:pt idx="13">
                  <c:v>11746</c:v>
                </c:pt>
                <c:pt idx="14">
                  <c:v>12155</c:v>
                </c:pt>
                <c:pt idx="15">
                  <c:v>12444</c:v>
                </c:pt>
                <c:pt idx="16">
                  <c:v>14189</c:v>
                </c:pt>
                <c:pt idx="17">
                  <c:v>16153</c:v>
                </c:pt>
                <c:pt idx="18">
                  <c:v>17859</c:v>
                </c:pt>
                <c:pt idx="19">
                  <c:v>19769</c:v>
                </c:pt>
                <c:pt idx="20">
                  <c:v>21577</c:v>
                </c:pt>
                <c:pt idx="21">
                  <c:v>21911</c:v>
                </c:pt>
                <c:pt idx="22">
                  <c:v>22138</c:v>
                </c:pt>
                <c:pt idx="23">
                  <c:v>23700</c:v>
                </c:pt>
                <c:pt idx="24">
                  <c:v>24885</c:v>
                </c:pt>
                <c:pt idx="25">
                  <c:v>26012</c:v>
                </c:pt>
                <c:pt idx="26">
                  <c:v>27017</c:v>
                </c:pt>
                <c:pt idx="27">
                  <c:v>27845</c:v>
                </c:pt>
                <c:pt idx="28">
                  <c:v>28016</c:v>
                </c:pt>
                <c:pt idx="29">
                  <c:v>28098</c:v>
                </c:pt>
                <c:pt idx="30">
                  <c:v>28608</c:v>
                </c:pt>
                <c:pt idx="31">
                  <c:v>29151</c:v>
                </c:pt>
                <c:pt idx="32">
                  <c:v>29551</c:v>
                </c:pt>
                <c:pt idx="33">
                  <c:v>29927</c:v>
                </c:pt>
                <c:pt idx="34">
                  <c:v>30258</c:v>
                </c:pt>
                <c:pt idx="35">
                  <c:v>30283</c:v>
                </c:pt>
                <c:pt idx="36">
                  <c:v>30304</c:v>
                </c:pt>
                <c:pt idx="37">
                  <c:v>30551</c:v>
                </c:pt>
                <c:pt idx="38">
                  <c:v>30786</c:v>
                </c:pt>
                <c:pt idx="39">
                  <c:v>31007</c:v>
                </c:pt>
                <c:pt idx="40">
                  <c:v>31203</c:v>
                </c:pt>
                <c:pt idx="41">
                  <c:v>31479</c:v>
                </c:pt>
                <c:pt idx="42">
                  <c:v>31500</c:v>
                </c:pt>
                <c:pt idx="43">
                  <c:v>31512</c:v>
                </c:pt>
                <c:pt idx="44">
                  <c:v>31648</c:v>
                </c:pt>
                <c:pt idx="45">
                  <c:v>31788</c:v>
                </c:pt>
                <c:pt idx="46">
                  <c:v>31983</c:v>
                </c:pt>
                <c:pt idx="47">
                  <c:v>32215</c:v>
                </c:pt>
                <c:pt idx="48">
                  <c:v>32495</c:v>
                </c:pt>
                <c:pt idx="49">
                  <c:v>32593</c:v>
                </c:pt>
                <c:pt idx="50">
                  <c:v>32658</c:v>
                </c:pt>
                <c:pt idx="51">
                  <c:v>33015</c:v>
                </c:pt>
                <c:pt idx="52">
                  <c:v>33313</c:v>
                </c:pt>
                <c:pt idx="53">
                  <c:v>33575</c:v>
                </c:pt>
                <c:pt idx="54">
                  <c:v>33915</c:v>
                </c:pt>
                <c:pt idx="55">
                  <c:v>34363</c:v>
                </c:pt>
                <c:pt idx="56">
                  <c:v>34469</c:v>
                </c:pt>
                <c:pt idx="57">
                  <c:v>34516</c:v>
                </c:pt>
                <c:pt idx="58">
                  <c:v>34826</c:v>
                </c:pt>
                <c:pt idx="59">
                  <c:v>35307</c:v>
                </c:pt>
                <c:pt idx="60">
                  <c:v>35905</c:v>
                </c:pt>
                <c:pt idx="61">
                  <c:v>36558</c:v>
                </c:pt>
                <c:pt idx="62">
                  <c:v>37100</c:v>
                </c:pt>
                <c:pt idx="63">
                  <c:v>37176</c:v>
                </c:pt>
                <c:pt idx="64">
                  <c:v>37219</c:v>
                </c:pt>
                <c:pt idx="65">
                  <c:v>37766</c:v>
                </c:pt>
                <c:pt idx="66">
                  <c:v>38360</c:v>
                </c:pt>
                <c:pt idx="67">
                  <c:v>38921</c:v>
                </c:pt>
                <c:pt idx="68">
                  <c:v>39465</c:v>
                </c:pt>
                <c:pt idx="69">
                  <c:v>40060</c:v>
                </c:pt>
                <c:pt idx="70">
                  <c:v>40227</c:v>
                </c:pt>
                <c:pt idx="71">
                  <c:v>40335</c:v>
                </c:pt>
                <c:pt idx="72">
                  <c:v>40663</c:v>
                </c:pt>
                <c:pt idx="73">
                  <c:v>41060</c:v>
                </c:pt>
                <c:pt idx="74">
                  <c:v>41463</c:v>
                </c:pt>
                <c:pt idx="75">
                  <c:v>41941</c:v>
                </c:pt>
                <c:pt idx="76">
                  <c:v>42348</c:v>
                </c:pt>
                <c:pt idx="77">
                  <c:v>42487</c:v>
                </c:pt>
                <c:pt idx="78">
                  <c:v>42572</c:v>
                </c:pt>
                <c:pt idx="79">
                  <c:v>42824</c:v>
                </c:pt>
                <c:pt idx="80">
                  <c:v>43187</c:v>
                </c:pt>
                <c:pt idx="81">
                  <c:v>43544</c:v>
                </c:pt>
                <c:pt idx="82">
                  <c:v>43902</c:v>
                </c:pt>
                <c:pt idx="83">
                  <c:v>44234</c:v>
                </c:pt>
                <c:pt idx="84">
                  <c:v>44350</c:v>
                </c:pt>
                <c:pt idx="85">
                  <c:v>44418</c:v>
                </c:pt>
                <c:pt idx="86">
                  <c:v>44593</c:v>
                </c:pt>
                <c:pt idx="87">
                  <c:v>44787</c:v>
                </c:pt>
                <c:pt idx="88">
                  <c:v>44934</c:v>
                </c:pt>
                <c:pt idx="89">
                  <c:v>45126</c:v>
                </c:pt>
                <c:pt idx="90">
                  <c:v>45345</c:v>
                </c:pt>
                <c:pt idx="91">
                  <c:v>45408</c:v>
                </c:pt>
                <c:pt idx="92">
                  <c:v>45450</c:v>
                </c:pt>
                <c:pt idx="93">
                  <c:v>45575</c:v>
                </c:pt>
                <c:pt idx="94">
                  <c:v>45736</c:v>
                </c:pt>
                <c:pt idx="95">
                  <c:v>45897</c:v>
                </c:pt>
                <c:pt idx="96">
                  <c:v>46113</c:v>
                </c:pt>
                <c:pt idx="97">
                  <c:v>46190</c:v>
                </c:pt>
                <c:pt idx="98">
                  <c:v>46211</c:v>
                </c:pt>
                <c:pt idx="99">
                  <c:v>46240</c:v>
                </c:pt>
                <c:pt idx="100">
                  <c:v>46247</c:v>
                </c:pt>
                <c:pt idx="101">
                  <c:v>46338</c:v>
                </c:pt>
                <c:pt idx="102">
                  <c:v>46432</c:v>
                </c:pt>
                <c:pt idx="103">
                  <c:v>46599</c:v>
                </c:pt>
                <c:pt idx="104">
                  <c:v>46797</c:v>
                </c:pt>
                <c:pt idx="105">
                  <c:v>46843</c:v>
                </c:pt>
                <c:pt idx="106">
                  <c:v>46876</c:v>
                </c:pt>
                <c:pt idx="107">
                  <c:v>47013</c:v>
                </c:pt>
                <c:pt idx="108">
                  <c:v>47133</c:v>
                </c:pt>
                <c:pt idx="109">
                  <c:v>47238</c:v>
                </c:pt>
                <c:pt idx="110">
                  <c:v>47396</c:v>
                </c:pt>
                <c:pt idx="111">
                  <c:v>47572</c:v>
                </c:pt>
                <c:pt idx="112">
                  <c:v>47613</c:v>
                </c:pt>
                <c:pt idx="113">
                  <c:v>47668</c:v>
                </c:pt>
                <c:pt idx="114">
                  <c:v>47795</c:v>
                </c:pt>
                <c:pt idx="115">
                  <c:v>47913</c:v>
                </c:pt>
                <c:pt idx="116">
                  <c:v>48048</c:v>
                </c:pt>
                <c:pt idx="117">
                  <c:v>48195</c:v>
                </c:pt>
                <c:pt idx="118">
                  <c:v>48350</c:v>
                </c:pt>
                <c:pt idx="119">
                  <c:v>48406</c:v>
                </c:pt>
                <c:pt idx="120">
                  <c:v>48443</c:v>
                </c:pt>
                <c:pt idx="121">
                  <c:v>48557</c:v>
                </c:pt>
                <c:pt idx="122">
                  <c:v>48676</c:v>
                </c:pt>
                <c:pt idx="123">
                  <c:v>48796</c:v>
                </c:pt>
                <c:pt idx="124">
                  <c:v>48926</c:v>
                </c:pt>
                <c:pt idx="125">
                  <c:v>49063</c:v>
                </c:pt>
                <c:pt idx="126">
                  <c:v>49092</c:v>
                </c:pt>
                <c:pt idx="127">
                  <c:v>49122</c:v>
                </c:pt>
                <c:pt idx="128">
                  <c:v>49243</c:v>
                </c:pt>
                <c:pt idx="129">
                  <c:v>49369</c:v>
                </c:pt>
                <c:pt idx="130">
                  <c:v>49464</c:v>
                </c:pt>
                <c:pt idx="131">
                  <c:v>49581</c:v>
                </c:pt>
                <c:pt idx="132">
                  <c:v>49752</c:v>
                </c:pt>
                <c:pt idx="133">
                  <c:v>49814</c:v>
                </c:pt>
                <c:pt idx="134">
                  <c:v>49846</c:v>
                </c:pt>
                <c:pt idx="135">
                  <c:v>49944</c:v>
                </c:pt>
                <c:pt idx="136">
                  <c:v>50059</c:v>
                </c:pt>
                <c:pt idx="137">
                  <c:v>50190</c:v>
                </c:pt>
                <c:pt idx="138">
                  <c:v>50345</c:v>
                </c:pt>
                <c:pt idx="139">
                  <c:v>50473</c:v>
                </c:pt>
                <c:pt idx="140">
                  <c:v>50542</c:v>
                </c:pt>
                <c:pt idx="141">
                  <c:v>50573</c:v>
                </c:pt>
                <c:pt idx="142">
                  <c:v>50656</c:v>
                </c:pt>
                <c:pt idx="143">
                  <c:v>50749</c:v>
                </c:pt>
                <c:pt idx="144">
                  <c:v>50834</c:v>
                </c:pt>
                <c:pt idx="145">
                  <c:v>50934</c:v>
                </c:pt>
                <c:pt idx="146">
                  <c:v>51041</c:v>
                </c:pt>
                <c:pt idx="147">
                  <c:v>51071</c:v>
                </c:pt>
                <c:pt idx="148">
                  <c:v>51086</c:v>
                </c:pt>
                <c:pt idx="149">
                  <c:v>51136</c:v>
                </c:pt>
                <c:pt idx="150">
                  <c:v>51199</c:v>
                </c:pt>
                <c:pt idx="151">
                  <c:v>51290</c:v>
                </c:pt>
                <c:pt idx="152">
                  <c:v>51372</c:v>
                </c:pt>
                <c:pt idx="153">
                  <c:v>51476</c:v>
                </c:pt>
                <c:pt idx="154">
                  <c:v>51513</c:v>
                </c:pt>
                <c:pt idx="155">
                  <c:v>51546</c:v>
                </c:pt>
                <c:pt idx="156">
                  <c:v>51621</c:v>
                </c:pt>
                <c:pt idx="157">
                  <c:v>51702</c:v>
                </c:pt>
                <c:pt idx="158">
                  <c:v>51798</c:v>
                </c:pt>
                <c:pt idx="159">
                  <c:v>51868</c:v>
                </c:pt>
                <c:pt idx="160">
                  <c:v>51965</c:v>
                </c:pt>
                <c:pt idx="161">
                  <c:v>51992</c:v>
                </c:pt>
                <c:pt idx="162">
                  <c:v>52025</c:v>
                </c:pt>
                <c:pt idx="163">
                  <c:v>52106</c:v>
                </c:pt>
                <c:pt idx="164">
                  <c:v>52203</c:v>
                </c:pt>
                <c:pt idx="165">
                  <c:v>52289</c:v>
                </c:pt>
                <c:pt idx="166">
                  <c:v>52375</c:v>
                </c:pt>
                <c:pt idx="167">
                  <c:v>52469</c:v>
                </c:pt>
                <c:pt idx="168">
                  <c:v>52498</c:v>
                </c:pt>
                <c:pt idx="169">
                  <c:v>52529</c:v>
                </c:pt>
                <c:pt idx="170">
                  <c:v>52600</c:v>
                </c:pt>
                <c:pt idx="171">
                  <c:v>52656</c:v>
                </c:pt>
                <c:pt idx="172">
                  <c:v>52731</c:v>
                </c:pt>
                <c:pt idx="173">
                  <c:v>52807</c:v>
                </c:pt>
                <c:pt idx="174">
                  <c:v>52885</c:v>
                </c:pt>
                <c:pt idx="175">
                  <c:v>52913</c:v>
                </c:pt>
                <c:pt idx="176">
                  <c:v>52938</c:v>
                </c:pt>
                <c:pt idx="177">
                  <c:v>52977</c:v>
                </c:pt>
                <c:pt idx="178">
                  <c:v>53028</c:v>
                </c:pt>
                <c:pt idx="179">
                  <c:v>53080</c:v>
                </c:pt>
                <c:pt idx="180">
                  <c:v>53130</c:v>
                </c:pt>
                <c:pt idx="181">
                  <c:v>53186</c:v>
                </c:pt>
                <c:pt idx="182">
                  <c:v>53200</c:v>
                </c:pt>
                <c:pt idx="183">
                  <c:v>53212</c:v>
                </c:pt>
                <c:pt idx="184">
                  <c:v>53256</c:v>
                </c:pt>
                <c:pt idx="185">
                  <c:v>53302</c:v>
                </c:pt>
                <c:pt idx="186">
                  <c:v>53360</c:v>
                </c:pt>
                <c:pt idx="187">
                  <c:v>53404</c:v>
                </c:pt>
                <c:pt idx="188">
                  <c:v>53459</c:v>
                </c:pt>
                <c:pt idx="189">
                  <c:v>53471</c:v>
                </c:pt>
                <c:pt idx="190">
                  <c:v>53483</c:v>
                </c:pt>
                <c:pt idx="191">
                  <c:v>53489</c:v>
                </c:pt>
                <c:pt idx="192">
                  <c:v>53498</c:v>
                </c:pt>
                <c:pt idx="193">
                  <c:v>53538</c:v>
                </c:pt>
                <c:pt idx="194">
                  <c:v>53592</c:v>
                </c:pt>
                <c:pt idx="195">
                  <c:v>53640</c:v>
                </c:pt>
                <c:pt idx="196">
                  <c:v>53655</c:v>
                </c:pt>
                <c:pt idx="197">
                  <c:v>53669</c:v>
                </c:pt>
                <c:pt idx="198">
                  <c:v>53717</c:v>
                </c:pt>
                <c:pt idx="199">
                  <c:v>53760</c:v>
                </c:pt>
                <c:pt idx="200">
                  <c:v>53806</c:v>
                </c:pt>
                <c:pt idx="201">
                  <c:v>53864</c:v>
                </c:pt>
                <c:pt idx="202">
                  <c:v>53918</c:v>
                </c:pt>
                <c:pt idx="203">
                  <c:v>53940</c:v>
                </c:pt>
                <c:pt idx="204">
                  <c:v>53959</c:v>
                </c:pt>
                <c:pt idx="205">
                  <c:v>54007</c:v>
                </c:pt>
                <c:pt idx="206">
                  <c:v>54052</c:v>
                </c:pt>
                <c:pt idx="207">
                  <c:v>54120</c:v>
                </c:pt>
                <c:pt idx="208">
                  <c:v>54157</c:v>
                </c:pt>
                <c:pt idx="209">
                  <c:v>54190</c:v>
                </c:pt>
                <c:pt idx="210">
                  <c:v>54196</c:v>
                </c:pt>
                <c:pt idx="211">
                  <c:v>54205</c:v>
                </c:pt>
                <c:pt idx="212">
                  <c:v>54245</c:v>
                </c:pt>
                <c:pt idx="213">
                  <c:v>54299</c:v>
                </c:pt>
                <c:pt idx="214">
                  <c:v>54334</c:v>
                </c:pt>
                <c:pt idx="215">
                  <c:v>54361</c:v>
                </c:pt>
                <c:pt idx="216">
                  <c:v>54406</c:v>
                </c:pt>
                <c:pt idx="217">
                  <c:v>54423</c:v>
                </c:pt>
                <c:pt idx="218">
                  <c:v>54436</c:v>
                </c:pt>
                <c:pt idx="219">
                  <c:v>54473</c:v>
                </c:pt>
                <c:pt idx="220">
                  <c:v>54498</c:v>
                </c:pt>
                <c:pt idx="221">
                  <c:v>54538</c:v>
                </c:pt>
                <c:pt idx="222">
                  <c:v>54569</c:v>
                </c:pt>
                <c:pt idx="223">
                  <c:v>54602</c:v>
                </c:pt>
                <c:pt idx="224">
                  <c:v>54615</c:v>
                </c:pt>
                <c:pt idx="225">
                  <c:v>54620</c:v>
                </c:pt>
                <c:pt idx="226">
                  <c:v>54641</c:v>
                </c:pt>
                <c:pt idx="227">
                  <c:v>54656</c:v>
                </c:pt>
                <c:pt idx="228">
                  <c:v>54676</c:v>
                </c:pt>
                <c:pt idx="229">
                  <c:v>54699</c:v>
                </c:pt>
                <c:pt idx="230">
                  <c:v>54724</c:v>
                </c:pt>
                <c:pt idx="231">
                  <c:v>54734</c:v>
                </c:pt>
                <c:pt idx="232">
                  <c:v>54739</c:v>
                </c:pt>
                <c:pt idx="233">
                  <c:v>54756</c:v>
                </c:pt>
                <c:pt idx="234">
                  <c:v>54780</c:v>
                </c:pt>
                <c:pt idx="235">
                  <c:v>54802</c:v>
                </c:pt>
                <c:pt idx="236">
                  <c:v>54824</c:v>
                </c:pt>
                <c:pt idx="237">
                  <c:v>54857</c:v>
                </c:pt>
                <c:pt idx="238">
                  <c:v>54867</c:v>
                </c:pt>
                <c:pt idx="239">
                  <c:v>54870</c:v>
                </c:pt>
                <c:pt idx="240">
                  <c:v>54881</c:v>
                </c:pt>
                <c:pt idx="241">
                  <c:v>54910</c:v>
                </c:pt>
                <c:pt idx="242">
                  <c:v>54934</c:v>
                </c:pt>
                <c:pt idx="243">
                  <c:v>54961</c:v>
                </c:pt>
                <c:pt idx="244">
                  <c:v>54989</c:v>
                </c:pt>
                <c:pt idx="245">
                  <c:v>54991</c:v>
                </c:pt>
                <c:pt idx="246">
                  <c:v>54998</c:v>
                </c:pt>
                <c:pt idx="247">
                  <c:v>55018</c:v>
                </c:pt>
                <c:pt idx="248">
                  <c:v>55042</c:v>
                </c:pt>
                <c:pt idx="249">
                  <c:v>55059</c:v>
                </c:pt>
                <c:pt idx="250">
                  <c:v>55087</c:v>
                </c:pt>
                <c:pt idx="251">
                  <c:v>55113</c:v>
                </c:pt>
                <c:pt idx="252">
                  <c:v>55121</c:v>
                </c:pt>
                <c:pt idx="253">
                  <c:v>55126</c:v>
                </c:pt>
                <c:pt idx="254">
                  <c:v>55137</c:v>
                </c:pt>
                <c:pt idx="255">
                  <c:v>55150</c:v>
                </c:pt>
                <c:pt idx="256">
                  <c:v>55168</c:v>
                </c:pt>
                <c:pt idx="257">
                  <c:v>55197</c:v>
                </c:pt>
                <c:pt idx="258">
                  <c:v>55222</c:v>
                </c:pt>
                <c:pt idx="259">
                  <c:v>55224</c:v>
                </c:pt>
                <c:pt idx="260">
                  <c:v>55227</c:v>
                </c:pt>
                <c:pt idx="261">
                  <c:v>55246</c:v>
                </c:pt>
                <c:pt idx="262">
                  <c:v>55264</c:v>
                </c:pt>
                <c:pt idx="263">
                  <c:v>55278</c:v>
                </c:pt>
                <c:pt idx="264">
                  <c:v>55296</c:v>
                </c:pt>
                <c:pt idx="265">
                  <c:v>55321</c:v>
                </c:pt>
                <c:pt idx="266">
                  <c:v>55326</c:v>
                </c:pt>
                <c:pt idx="267">
                  <c:v>55326</c:v>
                </c:pt>
                <c:pt idx="268">
                  <c:v>55344</c:v>
                </c:pt>
                <c:pt idx="269">
                  <c:v>55352</c:v>
                </c:pt>
                <c:pt idx="270">
                  <c:v>55360</c:v>
                </c:pt>
                <c:pt idx="271">
                  <c:v>55382</c:v>
                </c:pt>
                <c:pt idx="272">
                  <c:v>55408</c:v>
                </c:pt>
                <c:pt idx="273">
                  <c:v>55414</c:v>
                </c:pt>
                <c:pt idx="274">
                  <c:v>55414</c:v>
                </c:pt>
                <c:pt idx="275">
                  <c:v>55426</c:v>
                </c:pt>
                <c:pt idx="276">
                  <c:v>55426</c:v>
                </c:pt>
                <c:pt idx="277">
                  <c:v>55443</c:v>
                </c:pt>
                <c:pt idx="278">
                  <c:v>55458</c:v>
                </c:pt>
                <c:pt idx="279">
                  <c:v>55474</c:v>
                </c:pt>
                <c:pt idx="280">
                  <c:v>55480</c:v>
                </c:pt>
                <c:pt idx="281">
                  <c:v>55480</c:v>
                </c:pt>
                <c:pt idx="282">
                  <c:v>55490</c:v>
                </c:pt>
                <c:pt idx="283">
                  <c:v>55497</c:v>
                </c:pt>
                <c:pt idx="284">
                  <c:v>55509</c:v>
                </c:pt>
                <c:pt idx="285">
                  <c:v>55525</c:v>
                </c:pt>
                <c:pt idx="286">
                  <c:v>55537</c:v>
                </c:pt>
                <c:pt idx="287">
                  <c:v>5554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783-4536-9939-DB56A099F9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335740047"/>
        <c:axId val="1249189871"/>
      </c:lineChart>
      <c:catAx>
        <c:axId val="133574004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000000"/>
            </a:solidFill>
            <a:round/>
          </a:ln>
          <a:effectLst/>
        </c:spPr>
        <c:txPr>
          <a:bodyPr rot="-36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1249189871"/>
        <c:crosses val="autoZero"/>
        <c:auto val="1"/>
        <c:lblAlgn val="ctr"/>
        <c:lblOffset val="100"/>
        <c:tickLblSkip val="7"/>
        <c:noMultiLvlLbl val="0"/>
      </c:catAx>
      <c:valAx>
        <c:axId val="124918987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1335740047"/>
        <c:crosses val="autoZero"/>
        <c:crossBetween val="midCat"/>
        <c:majorUnit val="2000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2797528443005752"/>
          <c:y val="0.28604517875847346"/>
          <c:w val="0.10158527092232689"/>
          <c:h val="0.4728885344872771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1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1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cs-CZ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2895491925027349E-2"/>
          <c:y val="2.8733097084892491E-2"/>
          <c:w val="0.69322079746689458"/>
          <c:h val="0.83918438300516462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Lékaři</c:v>
                </c:pt>
              </c:strCache>
            </c:strRef>
          </c:tx>
          <c:spPr>
            <a:ln w="6350" cap="rnd">
              <a:solidFill>
                <a:srgbClr val="4472C4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-1.3019527064393282E-16"/>
                  <c:y val="2.5644061527390974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rgbClr val="4472C4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601304996662368"/>
                      <c:h val="4.114706235985942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4-CC25-463F-AAD4-4AD72ABB962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25400" cap="rnd">
                <a:solidFill>
                  <a:srgbClr val="4472C4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strRef>
              <c:f>List1!$B$1:$GB$1</c:f>
              <c:strCache>
                <c:ptCount val="183"/>
                <c:pt idx="0">
                  <c:v>08.04.21</c:v>
                </c:pt>
                <c:pt idx="1">
                  <c:v>09.04.21</c:v>
                </c:pt>
                <c:pt idx="2">
                  <c:v>10.04.21</c:v>
                </c:pt>
                <c:pt idx="3">
                  <c:v>11.04.21</c:v>
                </c:pt>
                <c:pt idx="4">
                  <c:v>12.04.21</c:v>
                </c:pt>
                <c:pt idx="5">
                  <c:v>13.04.21</c:v>
                </c:pt>
                <c:pt idx="6">
                  <c:v>14.04.21</c:v>
                </c:pt>
                <c:pt idx="7">
                  <c:v>15.04.21</c:v>
                </c:pt>
                <c:pt idx="8">
                  <c:v>16.04.21</c:v>
                </c:pt>
                <c:pt idx="9">
                  <c:v>17.04.21</c:v>
                </c:pt>
                <c:pt idx="10">
                  <c:v>18.04.21</c:v>
                </c:pt>
                <c:pt idx="11">
                  <c:v>19.04.21</c:v>
                </c:pt>
                <c:pt idx="12">
                  <c:v>20.04.21</c:v>
                </c:pt>
                <c:pt idx="13">
                  <c:v>21.04.21</c:v>
                </c:pt>
                <c:pt idx="14">
                  <c:v>22.04.21</c:v>
                </c:pt>
                <c:pt idx="15">
                  <c:v>23.04.21</c:v>
                </c:pt>
                <c:pt idx="16">
                  <c:v>24.04.21</c:v>
                </c:pt>
                <c:pt idx="17">
                  <c:v>25.04.21</c:v>
                </c:pt>
                <c:pt idx="18">
                  <c:v>26.04.21</c:v>
                </c:pt>
                <c:pt idx="19">
                  <c:v>27.04.21</c:v>
                </c:pt>
                <c:pt idx="20">
                  <c:v>28.04.21</c:v>
                </c:pt>
                <c:pt idx="21">
                  <c:v>29.04.21</c:v>
                </c:pt>
                <c:pt idx="22">
                  <c:v>30.04.21</c:v>
                </c:pt>
                <c:pt idx="23">
                  <c:v>01.05.21</c:v>
                </c:pt>
                <c:pt idx="24">
                  <c:v>02.05.21</c:v>
                </c:pt>
                <c:pt idx="25">
                  <c:v>03.05.21</c:v>
                </c:pt>
                <c:pt idx="26">
                  <c:v>04.05.21</c:v>
                </c:pt>
                <c:pt idx="27">
                  <c:v>05.05.21</c:v>
                </c:pt>
                <c:pt idx="28">
                  <c:v>06.05.21</c:v>
                </c:pt>
                <c:pt idx="29">
                  <c:v>07.05.21</c:v>
                </c:pt>
                <c:pt idx="30">
                  <c:v>08.05.21</c:v>
                </c:pt>
                <c:pt idx="31">
                  <c:v>09.05.21</c:v>
                </c:pt>
                <c:pt idx="32">
                  <c:v>10.05.21</c:v>
                </c:pt>
                <c:pt idx="33">
                  <c:v>11.05.21</c:v>
                </c:pt>
                <c:pt idx="34">
                  <c:v>12.05.21</c:v>
                </c:pt>
                <c:pt idx="35">
                  <c:v>13.05.21</c:v>
                </c:pt>
                <c:pt idx="36">
                  <c:v>14.05.21</c:v>
                </c:pt>
                <c:pt idx="37">
                  <c:v>15.05.21</c:v>
                </c:pt>
                <c:pt idx="38">
                  <c:v>16.05.21</c:v>
                </c:pt>
                <c:pt idx="39">
                  <c:v>17.05.21</c:v>
                </c:pt>
                <c:pt idx="40">
                  <c:v>18.05.21</c:v>
                </c:pt>
                <c:pt idx="41">
                  <c:v>19.05.21</c:v>
                </c:pt>
                <c:pt idx="42">
                  <c:v>20.05.21</c:v>
                </c:pt>
                <c:pt idx="43">
                  <c:v>21.05.21</c:v>
                </c:pt>
                <c:pt idx="44">
                  <c:v>22.05.21</c:v>
                </c:pt>
                <c:pt idx="45">
                  <c:v>23.05.21</c:v>
                </c:pt>
                <c:pt idx="46">
                  <c:v>24.05.21</c:v>
                </c:pt>
                <c:pt idx="47">
                  <c:v>25.05.21</c:v>
                </c:pt>
                <c:pt idx="48">
                  <c:v>26.05.21</c:v>
                </c:pt>
                <c:pt idx="49">
                  <c:v>27.05.21</c:v>
                </c:pt>
                <c:pt idx="50">
                  <c:v>28.05.21</c:v>
                </c:pt>
                <c:pt idx="51">
                  <c:v>29.05.21</c:v>
                </c:pt>
                <c:pt idx="52">
                  <c:v>30.05.21</c:v>
                </c:pt>
                <c:pt idx="53">
                  <c:v>31.05.21</c:v>
                </c:pt>
                <c:pt idx="54">
                  <c:v>01.06.21</c:v>
                </c:pt>
                <c:pt idx="55">
                  <c:v>02.06.21</c:v>
                </c:pt>
                <c:pt idx="56">
                  <c:v>03.06.21</c:v>
                </c:pt>
                <c:pt idx="57">
                  <c:v>04.06.21</c:v>
                </c:pt>
                <c:pt idx="58">
                  <c:v>05.06.21</c:v>
                </c:pt>
                <c:pt idx="59">
                  <c:v>06.06.21</c:v>
                </c:pt>
                <c:pt idx="60">
                  <c:v>07.06.21</c:v>
                </c:pt>
                <c:pt idx="61">
                  <c:v>08.06.21</c:v>
                </c:pt>
                <c:pt idx="62">
                  <c:v>09.06.21</c:v>
                </c:pt>
                <c:pt idx="63">
                  <c:v>10.06.21</c:v>
                </c:pt>
                <c:pt idx="64">
                  <c:v>11.06.21</c:v>
                </c:pt>
                <c:pt idx="65">
                  <c:v>12.06.21</c:v>
                </c:pt>
                <c:pt idx="66">
                  <c:v>13.06.21</c:v>
                </c:pt>
                <c:pt idx="67">
                  <c:v>14.06.21</c:v>
                </c:pt>
                <c:pt idx="68">
                  <c:v>15.06.21</c:v>
                </c:pt>
                <c:pt idx="69">
                  <c:v>16.06.21</c:v>
                </c:pt>
                <c:pt idx="70">
                  <c:v>17.06.21</c:v>
                </c:pt>
                <c:pt idx="71">
                  <c:v>18.06.21</c:v>
                </c:pt>
                <c:pt idx="72">
                  <c:v>19.06.21</c:v>
                </c:pt>
                <c:pt idx="73">
                  <c:v>20.06.21</c:v>
                </c:pt>
                <c:pt idx="74">
                  <c:v>21.06.21</c:v>
                </c:pt>
                <c:pt idx="75">
                  <c:v>22.06.21</c:v>
                </c:pt>
                <c:pt idx="76">
                  <c:v>23.06.21</c:v>
                </c:pt>
                <c:pt idx="77">
                  <c:v>24.06.21</c:v>
                </c:pt>
                <c:pt idx="78">
                  <c:v>25.06.21</c:v>
                </c:pt>
                <c:pt idx="79">
                  <c:v>26.06.21</c:v>
                </c:pt>
                <c:pt idx="80">
                  <c:v>27.06.21</c:v>
                </c:pt>
                <c:pt idx="81">
                  <c:v>28.06.21</c:v>
                </c:pt>
                <c:pt idx="82">
                  <c:v>29.06.21</c:v>
                </c:pt>
                <c:pt idx="83">
                  <c:v>30.06.21</c:v>
                </c:pt>
                <c:pt idx="84">
                  <c:v>01.07.21</c:v>
                </c:pt>
                <c:pt idx="85">
                  <c:v>02.07.21</c:v>
                </c:pt>
                <c:pt idx="86">
                  <c:v>03.07.21</c:v>
                </c:pt>
                <c:pt idx="87">
                  <c:v>04.07.21</c:v>
                </c:pt>
                <c:pt idx="88">
                  <c:v>05.07.21</c:v>
                </c:pt>
                <c:pt idx="89">
                  <c:v>06.07.21</c:v>
                </c:pt>
                <c:pt idx="90">
                  <c:v>07.07.21</c:v>
                </c:pt>
                <c:pt idx="91">
                  <c:v>08.07.21</c:v>
                </c:pt>
                <c:pt idx="92">
                  <c:v>09.07.21</c:v>
                </c:pt>
                <c:pt idx="93">
                  <c:v>10.07.21</c:v>
                </c:pt>
                <c:pt idx="94">
                  <c:v>11.07.21</c:v>
                </c:pt>
                <c:pt idx="95">
                  <c:v>12.07.21</c:v>
                </c:pt>
                <c:pt idx="96">
                  <c:v>13.07.21</c:v>
                </c:pt>
                <c:pt idx="97">
                  <c:v>14.07.21</c:v>
                </c:pt>
                <c:pt idx="98">
                  <c:v>15.07.21</c:v>
                </c:pt>
                <c:pt idx="99">
                  <c:v>16.07.21</c:v>
                </c:pt>
                <c:pt idx="100">
                  <c:v>17.07.21</c:v>
                </c:pt>
                <c:pt idx="101">
                  <c:v>18.07.21</c:v>
                </c:pt>
                <c:pt idx="102">
                  <c:v>19.07.21</c:v>
                </c:pt>
                <c:pt idx="103">
                  <c:v>20.07.21</c:v>
                </c:pt>
                <c:pt idx="104">
                  <c:v>21.07.21</c:v>
                </c:pt>
                <c:pt idx="105">
                  <c:v>22.07.21</c:v>
                </c:pt>
                <c:pt idx="106">
                  <c:v>23.07.21</c:v>
                </c:pt>
                <c:pt idx="107">
                  <c:v>24.07.21</c:v>
                </c:pt>
                <c:pt idx="108">
                  <c:v>25.07.21</c:v>
                </c:pt>
                <c:pt idx="109">
                  <c:v>26.07.21</c:v>
                </c:pt>
                <c:pt idx="110">
                  <c:v>27.07.21</c:v>
                </c:pt>
                <c:pt idx="111">
                  <c:v>28.07.21</c:v>
                </c:pt>
                <c:pt idx="112">
                  <c:v>29.07.21</c:v>
                </c:pt>
                <c:pt idx="113">
                  <c:v>30.07.21</c:v>
                </c:pt>
                <c:pt idx="114">
                  <c:v>31.07.21</c:v>
                </c:pt>
                <c:pt idx="115">
                  <c:v>01.08.21</c:v>
                </c:pt>
                <c:pt idx="116">
                  <c:v>02.08.21</c:v>
                </c:pt>
                <c:pt idx="117">
                  <c:v>03.08.21</c:v>
                </c:pt>
                <c:pt idx="118">
                  <c:v>04.08.21</c:v>
                </c:pt>
                <c:pt idx="119">
                  <c:v>05.08.21</c:v>
                </c:pt>
                <c:pt idx="120">
                  <c:v>06.08.21</c:v>
                </c:pt>
                <c:pt idx="121">
                  <c:v>07.08.21</c:v>
                </c:pt>
                <c:pt idx="122">
                  <c:v>08.08.21</c:v>
                </c:pt>
                <c:pt idx="123">
                  <c:v>09.08.21</c:v>
                </c:pt>
                <c:pt idx="124">
                  <c:v>10.08.21</c:v>
                </c:pt>
                <c:pt idx="125">
                  <c:v>11.08.21</c:v>
                </c:pt>
                <c:pt idx="126">
                  <c:v>12.08.21</c:v>
                </c:pt>
                <c:pt idx="127">
                  <c:v>13.08.21</c:v>
                </c:pt>
                <c:pt idx="128">
                  <c:v>14.08.21</c:v>
                </c:pt>
                <c:pt idx="129">
                  <c:v>15.08.21</c:v>
                </c:pt>
                <c:pt idx="130">
                  <c:v>16.08.21</c:v>
                </c:pt>
                <c:pt idx="131">
                  <c:v>17.08.21</c:v>
                </c:pt>
                <c:pt idx="132">
                  <c:v>18.08.21</c:v>
                </c:pt>
                <c:pt idx="133">
                  <c:v>19.08.21</c:v>
                </c:pt>
                <c:pt idx="134">
                  <c:v>20.08.21</c:v>
                </c:pt>
                <c:pt idx="135">
                  <c:v>21.08.21</c:v>
                </c:pt>
                <c:pt idx="136">
                  <c:v>22.08.21</c:v>
                </c:pt>
                <c:pt idx="137">
                  <c:v>23.08.21</c:v>
                </c:pt>
                <c:pt idx="138">
                  <c:v>24.08.21</c:v>
                </c:pt>
                <c:pt idx="139">
                  <c:v>25.08.21</c:v>
                </c:pt>
                <c:pt idx="140">
                  <c:v>26.08.21</c:v>
                </c:pt>
                <c:pt idx="141">
                  <c:v>27.08.21</c:v>
                </c:pt>
                <c:pt idx="142">
                  <c:v>28.08.21</c:v>
                </c:pt>
                <c:pt idx="143">
                  <c:v>29.08.21</c:v>
                </c:pt>
                <c:pt idx="144">
                  <c:v>30.08.21</c:v>
                </c:pt>
                <c:pt idx="145">
                  <c:v>31.08.21</c:v>
                </c:pt>
                <c:pt idx="146">
                  <c:v>01.09.21</c:v>
                </c:pt>
                <c:pt idx="147">
                  <c:v>02.09.21</c:v>
                </c:pt>
                <c:pt idx="148">
                  <c:v>03.09.21</c:v>
                </c:pt>
                <c:pt idx="149">
                  <c:v>04.09.21</c:v>
                </c:pt>
                <c:pt idx="150">
                  <c:v>05.09.21</c:v>
                </c:pt>
                <c:pt idx="151">
                  <c:v>06.09.21</c:v>
                </c:pt>
                <c:pt idx="152">
                  <c:v>07.09.21</c:v>
                </c:pt>
                <c:pt idx="153">
                  <c:v>08.09.21</c:v>
                </c:pt>
                <c:pt idx="154">
                  <c:v>09.09.21</c:v>
                </c:pt>
                <c:pt idx="155">
                  <c:v>10.09.21</c:v>
                </c:pt>
                <c:pt idx="156">
                  <c:v>11.09.21</c:v>
                </c:pt>
                <c:pt idx="157">
                  <c:v>12.09.21</c:v>
                </c:pt>
                <c:pt idx="158">
                  <c:v>13.09.21</c:v>
                </c:pt>
                <c:pt idx="159">
                  <c:v>14.09.21</c:v>
                </c:pt>
                <c:pt idx="160">
                  <c:v>15.09.21</c:v>
                </c:pt>
                <c:pt idx="161">
                  <c:v>16.09.21</c:v>
                </c:pt>
                <c:pt idx="162">
                  <c:v>17.09.21</c:v>
                </c:pt>
                <c:pt idx="163">
                  <c:v>18.09.21</c:v>
                </c:pt>
                <c:pt idx="164">
                  <c:v>19.09.21</c:v>
                </c:pt>
                <c:pt idx="165">
                  <c:v>20.09.21</c:v>
                </c:pt>
                <c:pt idx="166">
                  <c:v>21.09.21</c:v>
                </c:pt>
                <c:pt idx="167">
                  <c:v>22.09.21</c:v>
                </c:pt>
                <c:pt idx="168">
                  <c:v>23.09.21</c:v>
                </c:pt>
                <c:pt idx="169">
                  <c:v>24.09.21</c:v>
                </c:pt>
                <c:pt idx="170">
                  <c:v>25.09.21</c:v>
                </c:pt>
                <c:pt idx="171">
                  <c:v>26.09.21</c:v>
                </c:pt>
                <c:pt idx="172">
                  <c:v>27.09.21</c:v>
                </c:pt>
                <c:pt idx="173">
                  <c:v>28.09.21</c:v>
                </c:pt>
                <c:pt idx="174">
                  <c:v>29.09.21</c:v>
                </c:pt>
                <c:pt idx="175">
                  <c:v>30.09.21</c:v>
                </c:pt>
                <c:pt idx="176">
                  <c:v>01.10.21</c:v>
                </c:pt>
                <c:pt idx="177">
                  <c:v>02.10.21</c:v>
                </c:pt>
                <c:pt idx="178">
                  <c:v>03.10.21</c:v>
                </c:pt>
                <c:pt idx="179">
                  <c:v>04.10.21</c:v>
                </c:pt>
                <c:pt idx="180">
                  <c:v>05.10.21</c:v>
                </c:pt>
                <c:pt idx="181">
                  <c:v>06.10.21</c:v>
                </c:pt>
                <c:pt idx="182">
                  <c:v>07.10.21</c:v>
                </c:pt>
              </c:strCache>
            </c:strRef>
          </c:cat>
          <c:val>
            <c:numRef>
              <c:f>List1!$B$2:$GB$2</c:f>
              <c:numCache>
                <c:formatCode>General</c:formatCode>
                <c:ptCount val="183"/>
                <c:pt idx="0">
                  <c:v>5</c:v>
                </c:pt>
                <c:pt idx="1">
                  <c:v>4</c:v>
                </c:pt>
                <c:pt idx="2">
                  <c:v>2</c:v>
                </c:pt>
                <c:pt idx="3">
                  <c:v>2</c:v>
                </c:pt>
                <c:pt idx="4">
                  <c:v>4</c:v>
                </c:pt>
                <c:pt idx="5">
                  <c:v>3</c:v>
                </c:pt>
                <c:pt idx="6">
                  <c:v>9</c:v>
                </c:pt>
                <c:pt idx="7">
                  <c:v>3</c:v>
                </c:pt>
                <c:pt idx="8">
                  <c:v>4</c:v>
                </c:pt>
                <c:pt idx="9">
                  <c:v>3</c:v>
                </c:pt>
                <c:pt idx="10">
                  <c:v>3</c:v>
                </c:pt>
                <c:pt idx="11">
                  <c:v>6</c:v>
                </c:pt>
                <c:pt idx="12">
                  <c:v>4</c:v>
                </c:pt>
                <c:pt idx="13">
                  <c:v>9</c:v>
                </c:pt>
                <c:pt idx="14">
                  <c:v>2</c:v>
                </c:pt>
                <c:pt idx="15">
                  <c:v>6</c:v>
                </c:pt>
                <c:pt idx="16">
                  <c:v>1</c:v>
                </c:pt>
                <c:pt idx="17">
                  <c:v>1</c:v>
                </c:pt>
                <c:pt idx="18">
                  <c:v>3</c:v>
                </c:pt>
                <c:pt idx="19">
                  <c:v>3</c:v>
                </c:pt>
                <c:pt idx="20">
                  <c:v>7</c:v>
                </c:pt>
                <c:pt idx="21">
                  <c:v>6</c:v>
                </c:pt>
                <c:pt idx="22">
                  <c:v>4</c:v>
                </c:pt>
                <c:pt idx="23">
                  <c:v>1</c:v>
                </c:pt>
                <c:pt idx="24">
                  <c:v>3</c:v>
                </c:pt>
                <c:pt idx="25">
                  <c:v>2</c:v>
                </c:pt>
                <c:pt idx="26">
                  <c:v>4</c:v>
                </c:pt>
                <c:pt idx="27">
                  <c:v>5</c:v>
                </c:pt>
                <c:pt idx="28">
                  <c:v>0</c:v>
                </c:pt>
                <c:pt idx="29">
                  <c:v>0</c:v>
                </c:pt>
                <c:pt idx="30">
                  <c:v>1</c:v>
                </c:pt>
                <c:pt idx="31">
                  <c:v>1</c:v>
                </c:pt>
                <c:pt idx="32">
                  <c:v>2</c:v>
                </c:pt>
                <c:pt idx="33">
                  <c:v>2</c:v>
                </c:pt>
                <c:pt idx="34">
                  <c:v>0</c:v>
                </c:pt>
                <c:pt idx="35">
                  <c:v>5</c:v>
                </c:pt>
                <c:pt idx="36">
                  <c:v>2</c:v>
                </c:pt>
                <c:pt idx="37">
                  <c:v>2</c:v>
                </c:pt>
                <c:pt idx="38">
                  <c:v>0</c:v>
                </c:pt>
                <c:pt idx="39">
                  <c:v>1</c:v>
                </c:pt>
                <c:pt idx="40">
                  <c:v>2</c:v>
                </c:pt>
                <c:pt idx="41">
                  <c:v>3</c:v>
                </c:pt>
                <c:pt idx="42">
                  <c:v>1</c:v>
                </c:pt>
                <c:pt idx="43">
                  <c:v>1</c:v>
                </c:pt>
                <c:pt idx="44">
                  <c:v>1</c:v>
                </c:pt>
                <c:pt idx="45">
                  <c:v>1</c:v>
                </c:pt>
                <c:pt idx="46">
                  <c:v>1</c:v>
                </c:pt>
                <c:pt idx="47">
                  <c:v>1</c:v>
                </c:pt>
                <c:pt idx="48">
                  <c:v>2</c:v>
                </c:pt>
                <c:pt idx="49">
                  <c:v>2</c:v>
                </c:pt>
                <c:pt idx="50">
                  <c:v>2</c:v>
                </c:pt>
                <c:pt idx="51">
                  <c:v>0</c:v>
                </c:pt>
                <c:pt idx="52">
                  <c:v>1</c:v>
                </c:pt>
                <c:pt idx="53">
                  <c:v>1</c:v>
                </c:pt>
                <c:pt idx="54">
                  <c:v>1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1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1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1</c:v>
                </c:pt>
                <c:pt idx="85">
                  <c:v>0</c:v>
                </c:pt>
                <c:pt idx="86">
                  <c:v>0</c:v>
                </c:pt>
                <c:pt idx="87">
                  <c:v>1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2</c:v>
                </c:pt>
                <c:pt idx="93">
                  <c:v>0</c:v>
                </c:pt>
                <c:pt idx="94">
                  <c:v>0</c:v>
                </c:pt>
                <c:pt idx="95">
                  <c:v>2</c:v>
                </c:pt>
                <c:pt idx="96">
                  <c:v>1</c:v>
                </c:pt>
                <c:pt idx="97">
                  <c:v>0</c:v>
                </c:pt>
                <c:pt idx="98">
                  <c:v>0</c:v>
                </c:pt>
                <c:pt idx="99">
                  <c:v>2</c:v>
                </c:pt>
                <c:pt idx="100">
                  <c:v>2</c:v>
                </c:pt>
                <c:pt idx="101">
                  <c:v>1</c:v>
                </c:pt>
                <c:pt idx="102">
                  <c:v>2</c:v>
                </c:pt>
                <c:pt idx="103">
                  <c:v>2</c:v>
                </c:pt>
                <c:pt idx="104">
                  <c:v>2</c:v>
                </c:pt>
                <c:pt idx="105">
                  <c:v>4</c:v>
                </c:pt>
                <c:pt idx="106">
                  <c:v>0</c:v>
                </c:pt>
                <c:pt idx="107">
                  <c:v>0</c:v>
                </c:pt>
                <c:pt idx="108">
                  <c:v>1</c:v>
                </c:pt>
                <c:pt idx="109">
                  <c:v>3</c:v>
                </c:pt>
                <c:pt idx="110">
                  <c:v>1</c:v>
                </c:pt>
                <c:pt idx="111">
                  <c:v>1</c:v>
                </c:pt>
                <c:pt idx="112">
                  <c:v>2</c:v>
                </c:pt>
                <c:pt idx="113">
                  <c:v>2</c:v>
                </c:pt>
                <c:pt idx="114">
                  <c:v>0</c:v>
                </c:pt>
                <c:pt idx="115">
                  <c:v>0</c:v>
                </c:pt>
                <c:pt idx="116">
                  <c:v>0</c:v>
                </c:pt>
                <c:pt idx="117">
                  <c:v>0</c:v>
                </c:pt>
                <c:pt idx="118">
                  <c:v>6</c:v>
                </c:pt>
                <c:pt idx="119">
                  <c:v>1</c:v>
                </c:pt>
                <c:pt idx="120">
                  <c:v>2</c:v>
                </c:pt>
                <c:pt idx="121">
                  <c:v>0</c:v>
                </c:pt>
                <c:pt idx="122">
                  <c:v>2</c:v>
                </c:pt>
                <c:pt idx="123">
                  <c:v>2</c:v>
                </c:pt>
                <c:pt idx="124">
                  <c:v>0</c:v>
                </c:pt>
                <c:pt idx="125">
                  <c:v>3</c:v>
                </c:pt>
                <c:pt idx="126">
                  <c:v>1</c:v>
                </c:pt>
                <c:pt idx="127">
                  <c:v>1</c:v>
                </c:pt>
                <c:pt idx="128">
                  <c:v>0</c:v>
                </c:pt>
                <c:pt idx="129">
                  <c:v>0</c:v>
                </c:pt>
                <c:pt idx="130">
                  <c:v>3</c:v>
                </c:pt>
                <c:pt idx="131">
                  <c:v>0</c:v>
                </c:pt>
                <c:pt idx="132">
                  <c:v>0</c:v>
                </c:pt>
                <c:pt idx="133">
                  <c:v>1</c:v>
                </c:pt>
                <c:pt idx="134">
                  <c:v>1</c:v>
                </c:pt>
                <c:pt idx="135">
                  <c:v>0</c:v>
                </c:pt>
                <c:pt idx="136">
                  <c:v>0</c:v>
                </c:pt>
                <c:pt idx="137">
                  <c:v>2</c:v>
                </c:pt>
                <c:pt idx="138">
                  <c:v>0</c:v>
                </c:pt>
                <c:pt idx="139">
                  <c:v>1</c:v>
                </c:pt>
                <c:pt idx="140">
                  <c:v>1</c:v>
                </c:pt>
                <c:pt idx="141">
                  <c:v>1</c:v>
                </c:pt>
                <c:pt idx="142">
                  <c:v>1</c:v>
                </c:pt>
                <c:pt idx="143">
                  <c:v>0</c:v>
                </c:pt>
                <c:pt idx="144">
                  <c:v>0</c:v>
                </c:pt>
                <c:pt idx="145">
                  <c:v>4</c:v>
                </c:pt>
                <c:pt idx="146">
                  <c:v>4</c:v>
                </c:pt>
                <c:pt idx="147">
                  <c:v>1</c:v>
                </c:pt>
                <c:pt idx="148">
                  <c:v>1</c:v>
                </c:pt>
                <c:pt idx="149">
                  <c:v>3</c:v>
                </c:pt>
                <c:pt idx="150">
                  <c:v>1</c:v>
                </c:pt>
                <c:pt idx="151">
                  <c:v>0</c:v>
                </c:pt>
                <c:pt idx="152">
                  <c:v>2</c:v>
                </c:pt>
                <c:pt idx="153">
                  <c:v>0</c:v>
                </c:pt>
                <c:pt idx="154">
                  <c:v>0</c:v>
                </c:pt>
                <c:pt idx="155">
                  <c:v>3</c:v>
                </c:pt>
                <c:pt idx="156">
                  <c:v>3</c:v>
                </c:pt>
                <c:pt idx="157">
                  <c:v>0</c:v>
                </c:pt>
                <c:pt idx="158">
                  <c:v>3</c:v>
                </c:pt>
                <c:pt idx="159">
                  <c:v>2</c:v>
                </c:pt>
                <c:pt idx="160">
                  <c:v>0</c:v>
                </c:pt>
                <c:pt idx="161">
                  <c:v>1</c:v>
                </c:pt>
                <c:pt idx="162">
                  <c:v>2</c:v>
                </c:pt>
                <c:pt idx="163">
                  <c:v>1</c:v>
                </c:pt>
                <c:pt idx="164">
                  <c:v>1</c:v>
                </c:pt>
                <c:pt idx="165">
                  <c:v>0</c:v>
                </c:pt>
                <c:pt idx="166">
                  <c:v>3</c:v>
                </c:pt>
                <c:pt idx="167">
                  <c:v>3</c:v>
                </c:pt>
                <c:pt idx="168">
                  <c:v>2</c:v>
                </c:pt>
                <c:pt idx="169">
                  <c:v>3</c:v>
                </c:pt>
                <c:pt idx="170">
                  <c:v>1</c:v>
                </c:pt>
                <c:pt idx="171">
                  <c:v>2</c:v>
                </c:pt>
                <c:pt idx="172">
                  <c:v>6</c:v>
                </c:pt>
                <c:pt idx="173">
                  <c:v>4</c:v>
                </c:pt>
                <c:pt idx="174">
                  <c:v>3</c:v>
                </c:pt>
                <c:pt idx="175">
                  <c:v>9</c:v>
                </c:pt>
                <c:pt idx="176">
                  <c:v>2</c:v>
                </c:pt>
                <c:pt idx="177">
                  <c:v>5</c:v>
                </c:pt>
                <c:pt idx="178">
                  <c:v>1</c:v>
                </c:pt>
                <c:pt idx="179">
                  <c:v>0</c:v>
                </c:pt>
                <c:pt idx="180">
                  <c:v>2</c:v>
                </c:pt>
                <c:pt idx="181">
                  <c:v>5</c:v>
                </c:pt>
                <c:pt idx="182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8FD-43E4-BA1D-0B494D841FF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Sesterská povolání</c:v>
                </c:pt>
              </c:strCache>
            </c:strRef>
          </c:tx>
          <c:spPr>
            <a:ln w="6350" cap="rnd">
              <a:solidFill>
                <a:srgbClr val="ED7D31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rgbClr val="ED7D31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197070572569906"/>
                      <c:h val="7.530028975770307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CC25-463F-AAD4-4AD72ABB962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l">
                  <a:defRPr sz="1200" b="0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 w="25400" cap="rnd">
                <a:solidFill>
                  <a:srgbClr val="ED7D3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strRef>
              <c:f>List1!$B$1:$GB$1</c:f>
              <c:strCache>
                <c:ptCount val="183"/>
                <c:pt idx="0">
                  <c:v>08.04.21</c:v>
                </c:pt>
                <c:pt idx="1">
                  <c:v>09.04.21</c:v>
                </c:pt>
                <c:pt idx="2">
                  <c:v>10.04.21</c:v>
                </c:pt>
                <c:pt idx="3">
                  <c:v>11.04.21</c:v>
                </c:pt>
                <c:pt idx="4">
                  <c:v>12.04.21</c:v>
                </c:pt>
                <c:pt idx="5">
                  <c:v>13.04.21</c:v>
                </c:pt>
                <c:pt idx="6">
                  <c:v>14.04.21</c:v>
                </c:pt>
                <c:pt idx="7">
                  <c:v>15.04.21</c:v>
                </c:pt>
                <c:pt idx="8">
                  <c:v>16.04.21</c:v>
                </c:pt>
                <c:pt idx="9">
                  <c:v>17.04.21</c:v>
                </c:pt>
                <c:pt idx="10">
                  <c:v>18.04.21</c:v>
                </c:pt>
                <c:pt idx="11">
                  <c:v>19.04.21</c:v>
                </c:pt>
                <c:pt idx="12">
                  <c:v>20.04.21</c:v>
                </c:pt>
                <c:pt idx="13">
                  <c:v>21.04.21</c:v>
                </c:pt>
                <c:pt idx="14">
                  <c:v>22.04.21</c:v>
                </c:pt>
                <c:pt idx="15">
                  <c:v>23.04.21</c:v>
                </c:pt>
                <c:pt idx="16">
                  <c:v>24.04.21</c:v>
                </c:pt>
                <c:pt idx="17">
                  <c:v>25.04.21</c:v>
                </c:pt>
                <c:pt idx="18">
                  <c:v>26.04.21</c:v>
                </c:pt>
                <c:pt idx="19">
                  <c:v>27.04.21</c:v>
                </c:pt>
                <c:pt idx="20">
                  <c:v>28.04.21</c:v>
                </c:pt>
                <c:pt idx="21">
                  <c:v>29.04.21</c:v>
                </c:pt>
                <c:pt idx="22">
                  <c:v>30.04.21</c:v>
                </c:pt>
                <c:pt idx="23">
                  <c:v>01.05.21</c:v>
                </c:pt>
                <c:pt idx="24">
                  <c:v>02.05.21</c:v>
                </c:pt>
                <c:pt idx="25">
                  <c:v>03.05.21</c:v>
                </c:pt>
                <c:pt idx="26">
                  <c:v>04.05.21</c:v>
                </c:pt>
                <c:pt idx="27">
                  <c:v>05.05.21</c:v>
                </c:pt>
                <c:pt idx="28">
                  <c:v>06.05.21</c:v>
                </c:pt>
                <c:pt idx="29">
                  <c:v>07.05.21</c:v>
                </c:pt>
                <c:pt idx="30">
                  <c:v>08.05.21</c:v>
                </c:pt>
                <c:pt idx="31">
                  <c:v>09.05.21</c:v>
                </c:pt>
                <c:pt idx="32">
                  <c:v>10.05.21</c:v>
                </c:pt>
                <c:pt idx="33">
                  <c:v>11.05.21</c:v>
                </c:pt>
                <c:pt idx="34">
                  <c:v>12.05.21</c:v>
                </c:pt>
                <c:pt idx="35">
                  <c:v>13.05.21</c:v>
                </c:pt>
                <c:pt idx="36">
                  <c:v>14.05.21</c:v>
                </c:pt>
                <c:pt idx="37">
                  <c:v>15.05.21</c:v>
                </c:pt>
                <c:pt idx="38">
                  <c:v>16.05.21</c:v>
                </c:pt>
                <c:pt idx="39">
                  <c:v>17.05.21</c:v>
                </c:pt>
                <c:pt idx="40">
                  <c:v>18.05.21</c:v>
                </c:pt>
                <c:pt idx="41">
                  <c:v>19.05.21</c:v>
                </c:pt>
                <c:pt idx="42">
                  <c:v>20.05.21</c:v>
                </c:pt>
                <c:pt idx="43">
                  <c:v>21.05.21</c:v>
                </c:pt>
                <c:pt idx="44">
                  <c:v>22.05.21</c:v>
                </c:pt>
                <c:pt idx="45">
                  <c:v>23.05.21</c:v>
                </c:pt>
                <c:pt idx="46">
                  <c:v>24.05.21</c:v>
                </c:pt>
                <c:pt idx="47">
                  <c:v>25.05.21</c:v>
                </c:pt>
                <c:pt idx="48">
                  <c:v>26.05.21</c:v>
                </c:pt>
                <c:pt idx="49">
                  <c:v>27.05.21</c:v>
                </c:pt>
                <c:pt idx="50">
                  <c:v>28.05.21</c:v>
                </c:pt>
                <c:pt idx="51">
                  <c:v>29.05.21</c:v>
                </c:pt>
                <c:pt idx="52">
                  <c:v>30.05.21</c:v>
                </c:pt>
                <c:pt idx="53">
                  <c:v>31.05.21</c:v>
                </c:pt>
                <c:pt idx="54">
                  <c:v>01.06.21</c:v>
                </c:pt>
                <c:pt idx="55">
                  <c:v>02.06.21</c:v>
                </c:pt>
                <c:pt idx="56">
                  <c:v>03.06.21</c:v>
                </c:pt>
                <c:pt idx="57">
                  <c:v>04.06.21</c:v>
                </c:pt>
                <c:pt idx="58">
                  <c:v>05.06.21</c:v>
                </c:pt>
                <c:pt idx="59">
                  <c:v>06.06.21</c:v>
                </c:pt>
                <c:pt idx="60">
                  <c:v>07.06.21</c:v>
                </c:pt>
                <c:pt idx="61">
                  <c:v>08.06.21</c:v>
                </c:pt>
                <c:pt idx="62">
                  <c:v>09.06.21</c:v>
                </c:pt>
                <c:pt idx="63">
                  <c:v>10.06.21</c:v>
                </c:pt>
                <c:pt idx="64">
                  <c:v>11.06.21</c:v>
                </c:pt>
                <c:pt idx="65">
                  <c:v>12.06.21</c:v>
                </c:pt>
                <c:pt idx="66">
                  <c:v>13.06.21</c:v>
                </c:pt>
                <c:pt idx="67">
                  <c:v>14.06.21</c:v>
                </c:pt>
                <c:pt idx="68">
                  <c:v>15.06.21</c:v>
                </c:pt>
                <c:pt idx="69">
                  <c:v>16.06.21</c:v>
                </c:pt>
                <c:pt idx="70">
                  <c:v>17.06.21</c:v>
                </c:pt>
                <c:pt idx="71">
                  <c:v>18.06.21</c:v>
                </c:pt>
                <c:pt idx="72">
                  <c:v>19.06.21</c:v>
                </c:pt>
                <c:pt idx="73">
                  <c:v>20.06.21</c:v>
                </c:pt>
                <c:pt idx="74">
                  <c:v>21.06.21</c:v>
                </c:pt>
                <c:pt idx="75">
                  <c:v>22.06.21</c:v>
                </c:pt>
                <c:pt idx="76">
                  <c:v>23.06.21</c:v>
                </c:pt>
                <c:pt idx="77">
                  <c:v>24.06.21</c:v>
                </c:pt>
                <c:pt idx="78">
                  <c:v>25.06.21</c:v>
                </c:pt>
                <c:pt idx="79">
                  <c:v>26.06.21</c:v>
                </c:pt>
                <c:pt idx="80">
                  <c:v>27.06.21</c:v>
                </c:pt>
                <c:pt idx="81">
                  <c:v>28.06.21</c:v>
                </c:pt>
                <c:pt idx="82">
                  <c:v>29.06.21</c:v>
                </c:pt>
                <c:pt idx="83">
                  <c:v>30.06.21</c:v>
                </c:pt>
                <c:pt idx="84">
                  <c:v>01.07.21</c:v>
                </c:pt>
                <c:pt idx="85">
                  <c:v>02.07.21</c:v>
                </c:pt>
                <c:pt idx="86">
                  <c:v>03.07.21</c:v>
                </c:pt>
                <c:pt idx="87">
                  <c:v>04.07.21</c:v>
                </c:pt>
                <c:pt idx="88">
                  <c:v>05.07.21</c:v>
                </c:pt>
                <c:pt idx="89">
                  <c:v>06.07.21</c:v>
                </c:pt>
                <c:pt idx="90">
                  <c:v>07.07.21</c:v>
                </c:pt>
                <c:pt idx="91">
                  <c:v>08.07.21</c:v>
                </c:pt>
                <c:pt idx="92">
                  <c:v>09.07.21</c:v>
                </c:pt>
                <c:pt idx="93">
                  <c:v>10.07.21</c:v>
                </c:pt>
                <c:pt idx="94">
                  <c:v>11.07.21</c:v>
                </c:pt>
                <c:pt idx="95">
                  <c:v>12.07.21</c:v>
                </c:pt>
                <c:pt idx="96">
                  <c:v>13.07.21</c:v>
                </c:pt>
                <c:pt idx="97">
                  <c:v>14.07.21</c:v>
                </c:pt>
                <c:pt idx="98">
                  <c:v>15.07.21</c:v>
                </c:pt>
                <c:pt idx="99">
                  <c:v>16.07.21</c:v>
                </c:pt>
                <c:pt idx="100">
                  <c:v>17.07.21</c:v>
                </c:pt>
                <c:pt idx="101">
                  <c:v>18.07.21</c:v>
                </c:pt>
                <c:pt idx="102">
                  <c:v>19.07.21</c:v>
                </c:pt>
                <c:pt idx="103">
                  <c:v>20.07.21</c:v>
                </c:pt>
                <c:pt idx="104">
                  <c:v>21.07.21</c:v>
                </c:pt>
                <c:pt idx="105">
                  <c:v>22.07.21</c:v>
                </c:pt>
                <c:pt idx="106">
                  <c:v>23.07.21</c:v>
                </c:pt>
                <c:pt idx="107">
                  <c:v>24.07.21</c:v>
                </c:pt>
                <c:pt idx="108">
                  <c:v>25.07.21</c:v>
                </c:pt>
                <c:pt idx="109">
                  <c:v>26.07.21</c:v>
                </c:pt>
                <c:pt idx="110">
                  <c:v>27.07.21</c:v>
                </c:pt>
                <c:pt idx="111">
                  <c:v>28.07.21</c:v>
                </c:pt>
                <c:pt idx="112">
                  <c:v>29.07.21</c:v>
                </c:pt>
                <c:pt idx="113">
                  <c:v>30.07.21</c:v>
                </c:pt>
                <c:pt idx="114">
                  <c:v>31.07.21</c:v>
                </c:pt>
                <c:pt idx="115">
                  <c:v>01.08.21</c:v>
                </c:pt>
                <c:pt idx="116">
                  <c:v>02.08.21</c:v>
                </c:pt>
                <c:pt idx="117">
                  <c:v>03.08.21</c:v>
                </c:pt>
                <c:pt idx="118">
                  <c:v>04.08.21</c:v>
                </c:pt>
                <c:pt idx="119">
                  <c:v>05.08.21</c:v>
                </c:pt>
                <c:pt idx="120">
                  <c:v>06.08.21</c:v>
                </c:pt>
                <c:pt idx="121">
                  <c:v>07.08.21</c:v>
                </c:pt>
                <c:pt idx="122">
                  <c:v>08.08.21</c:v>
                </c:pt>
                <c:pt idx="123">
                  <c:v>09.08.21</c:v>
                </c:pt>
                <c:pt idx="124">
                  <c:v>10.08.21</c:v>
                </c:pt>
                <c:pt idx="125">
                  <c:v>11.08.21</c:v>
                </c:pt>
                <c:pt idx="126">
                  <c:v>12.08.21</c:v>
                </c:pt>
                <c:pt idx="127">
                  <c:v>13.08.21</c:v>
                </c:pt>
                <c:pt idx="128">
                  <c:v>14.08.21</c:v>
                </c:pt>
                <c:pt idx="129">
                  <c:v>15.08.21</c:v>
                </c:pt>
                <c:pt idx="130">
                  <c:v>16.08.21</c:v>
                </c:pt>
                <c:pt idx="131">
                  <c:v>17.08.21</c:v>
                </c:pt>
                <c:pt idx="132">
                  <c:v>18.08.21</c:v>
                </c:pt>
                <c:pt idx="133">
                  <c:v>19.08.21</c:v>
                </c:pt>
                <c:pt idx="134">
                  <c:v>20.08.21</c:v>
                </c:pt>
                <c:pt idx="135">
                  <c:v>21.08.21</c:v>
                </c:pt>
                <c:pt idx="136">
                  <c:v>22.08.21</c:v>
                </c:pt>
                <c:pt idx="137">
                  <c:v>23.08.21</c:v>
                </c:pt>
                <c:pt idx="138">
                  <c:v>24.08.21</c:v>
                </c:pt>
                <c:pt idx="139">
                  <c:v>25.08.21</c:v>
                </c:pt>
                <c:pt idx="140">
                  <c:v>26.08.21</c:v>
                </c:pt>
                <c:pt idx="141">
                  <c:v>27.08.21</c:v>
                </c:pt>
                <c:pt idx="142">
                  <c:v>28.08.21</c:v>
                </c:pt>
                <c:pt idx="143">
                  <c:v>29.08.21</c:v>
                </c:pt>
                <c:pt idx="144">
                  <c:v>30.08.21</c:v>
                </c:pt>
                <c:pt idx="145">
                  <c:v>31.08.21</c:v>
                </c:pt>
                <c:pt idx="146">
                  <c:v>01.09.21</c:v>
                </c:pt>
                <c:pt idx="147">
                  <c:v>02.09.21</c:v>
                </c:pt>
                <c:pt idx="148">
                  <c:v>03.09.21</c:v>
                </c:pt>
                <c:pt idx="149">
                  <c:v>04.09.21</c:v>
                </c:pt>
                <c:pt idx="150">
                  <c:v>05.09.21</c:v>
                </c:pt>
                <c:pt idx="151">
                  <c:v>06.09.21</c:v>
                </c:pt>
                <c:pt idx="152">
                  <c:v>07.09.21</c:v>
                </c:pt>
                <c:pt idx="153">
                  <c:v>08.09.21</c:v>
                </c:pt>
                <c:pt idx="154">
                  <c:v>09.09.21</c:v>
                </c:pt>
                <c:pt idx="155">
                  <c:v>10.09.21</c:v>
                </c:pt>
                <c:pt idx="156">
                  <c:v>11.09.21</c:v>
                </c:pt>
                <c:pt idx="157">
                  <c:v>12.09.21</c:v>
                </c:pt>
                <c:pt idx="158">
                  <c:v>13.09.21</c:v>
                </c:pt>
                <c:pt idx="159">
                  <c:v>14.09.21</c:v>
                </c:pt>
                <c:pt idx="160">
                  <c:v>15.09.21</c:v>
                </c:pt>
                <c:pt idx="161">
                  <c:v>16.09.21</c:v>
                </c:pt>
                <c:pt idx="162">
                  <c:v>17.09.21</c:v>
                </c:pt>
                <c:pt idx="163">
                  <c:v>18.09.21</c:v>
                </c:pt>
                <c:pt idx="164">
                  <c:v>19.09.21</c:v>
                </c:pt>
                <c:pt idx="165">
                  <c:v>20.09.21</c:v>
                </c:pt>
                <c:pt idx="166">
                  <c:v>21.09.21</c:v>
                </c:pt>
                <c:pt idx="167">
                  <c:v>22.09.21</c:v>
                </c:pt>
                <c:pt idx="168">
                  <c:v>23.09.21</c:v>
                </c:pt>
                <c:pt idx="169">
                  <c:v>24.09.21</c:v>
                </c:pt>
                <c:pt idx="170">
                  <c:v>25.09.21</c:v>
                </c:pt>
                <c:pt idx="171">
                  <c:v>26.09.21</c:v>
                </c:pt>
                <c:pt idx="172">
                  <c:v>27.09.21</c:v>
                </c:pt>
                <c:pt idx="173">
                  <c:v>28.09.21</c:v>
                </c:pt>
                <c:pt idx="174">
                  <c:v>29.09.21</c:v>
                </c:pt>
                <c:pt idx="175">
                  <c:v>30.09.21</c:v>
                </c:pt>
                <c:pt idx="176">
                  <c:v>01.10.21</c:v>
                </c:pt>
                <c:pt idx="177">
                  <c:v>02.10.21</c:v>
                </c:pt>
                <c:pt idx="178">
                  <c:v>03.10.21</c:v>
                </c:pt>
                <c:pt idx="179">
                  <c:v>04.10.21</c:v>
                </c:pt>
                <c:pt idx="180">
                  <c:v>05.10.21</c:v>
                </c:pt>
                <c:pt idx="181">
                  <c:v>06.10.21</c:v>
                </c:pt>
                <c:pt idx="182">
                  <c:v>07.10.21</c:v>
                </c:pt>
              </c:strCache>
            </c:strRef>
          </c:cat>
          <c:val>
            <c:numRef>
              <c:f>List1!$B$3:$GB$3</c:f>
              <c:numCache>
                <c:formatCode>General</c:formatCode>
                <c:ptCount val="183"/>
                <c:pt idx="0">
                  <c:v>36</c:v>
                </c:pt>
                <c:pt idx="1">
                  <c:v>28</c:v>
                </c:pt>
                <c:pt idx="2">
                  <c:v>16</c:v>
                </c:pt>
                <c:pt idx="3">
                  <c:v>8</c:v>
                </c:pt>
                <c:pt idx="4">
                  <c:v>25</c:v>
                </c:pt>
                <c:pt idx="5">
                  <c:v>27</c:v>
                </c:pt>
                <c:pt idx="6">
                  <c:v>27</c:v>
                </c:pt>
                <c:pt idx="7">
                  <c:v>23</c:v>
                </c:pt>
                <c:pt idx="8">
                  <c:v>24</c:v>
                </c:pt>
                <c:pt idx="9">
                  <c:v>8</c:v>
                </c:pt>
                <c:pt idx="10">
                  <c:v>6</c:v>
                </c:pt>
                <c:pt idx="11">
                  <c:v>28</c:v>
                </c:pt>
                <c:pt idx="12">
                  <c:v>27</c:v>
                </c:pt>
                <c:pt idx="13">
                  <c:v>22</c:v>
                </c:pt>
                <c:pt idx="14">
                  <c:v>12</c:v>
                </c:pt>
                <c:pt idx="15">
                  <c:v>10</c:v>
                </c:pt>
                <c:pt idx="16">
                  <c:v>8</c:v>
                </c:pt>
                <c:pt idx="17">
                  <c:v>4</c:v>
                </c:pt>
                <c:pt idx="18">
                  <c:v>11</c:v>
                </c:pt>
                <c:pt idx="19">
                  <c:v>10</c:v>
                </c:pt>
                <c:pt idx="20">
                  <c:v>6</c:v>
                </c:pt>
                <c:pt idx="21">
                  <c:v>15</c:v>
                </c:pt>
                <c:pt idx="22">
                  <c:v>18</c:v>
                </c:pt>
                <c:pt idx="23">
                  <c:v>5</c:v>
                </c:pt>
                <c:pt idx="24">
                  <c:v>4</c:v>
                </c:pt>
                <c:pt idx="25">
                  <c:v>18</c:v>
                </c:pt>
                <c:pt idx="26">
                  <c:v>13</c:v>
                </c:pt>
                <c:pt idx="27">
                  <c:v>11</c:v>
                </c:pt>
                <c:pt idx="28">
                  <c:v>6</c:v>
                </c:pt>
                <c:pt idx="29">
                  <c:v>13</c:v>
                </c:pt>
                <c:pt idx="30">
                  <c:v>4</c:v>
                </c:pt>
                <c:pt idx="31">
                  <c:v>3</c:v>
                </c:pt>
                <c:pt idx="32">
                  <c:v>10</c:v>
                </c:pt>
                <c:pt idx="33">
                  <c:v>18</c:v>
                </c:pt>
                <c:pt idx="34">
                  <c:v>6</c:v>
                </c:pt>
                <c:pt idx="35">
                  <c:v>9</c:v>
                </c:pt>
                <c:pt idx="36">
                  <c:v>7</c:v>
                </c:pt>
                <c:pt idx="37">
                  <c:v>1</c:v>
                </c:pt>
                <c:pt idx="38">
                  <c:v>1</c:v>
                </c:pt>
                <c:pt idx="39">
                  <c:v>7</c:v>
                </c:pt>
                <c:pt idx="40">
                  <c:v>3</c:v>
                </c:pt>
                <c:pt idx="41">
                  <c:v>2</c:v>
                </c:pt>
                <c:pt idx="42">
                  <c:v>6</c:v>
                </c:pt>
                <c:pt idx="43">
                  <c:v>3</c:v>
                </c:pt>
                <c:pt idx="44">
                  <c:v>2</c:v>
                </c:pt>
                <c:pt idx="45">
                  <c:v>0</c:v>
                </c:pt>
                <c:pt idx="46">
                  <c:v>3</c:v>
                </c:pt>
                <c:pt idx="47">
                  <c:v>4</c:v>
                </c:pt>
                <c:pt idx="48">
                  <c:v>5</c:v>
                </c:pt>
                <c:pt idx="49">
                  <c:v>2</c:v>
                </c:pt>
                <c:pt idx="50">
                  <c:v>3</c:v>
                </c:pt>
                <c:pt idx="51">
                  <c:v>0</c:v>
                </c:pt>
                <c:pt idx="52">
                  <c:v>0</c:v>
                </c:pt>
                <c:pt idx="53">
                  <c:v>3</c:v>
                </c:pt>
                <c:pt idx="54">
                  <c:v>1</c:v>
                </c:pt>
                <c:pt idx="55">
                  <c:v>0</c:v>
                </c:pt>
                <c:pt idx="56">
                  <c:v>5</c:v>
                </c:pt>
                <c:pt idx="57">
                  <c:v>1</c:v>
                </c:pt>
                <c:pt idx="58">
                  <c:v>0</c:v>
                </c:pt>
                <c:pt idx="59">
                  <c:v>1</c:v>
                </c:pt>
                <c:pt idx="60">
                  <c:v>1</c:v>
                </c:pt>
                <c:pt idx="61">
                  <c:v>1</c:v>
                </c:pt>
                <c:pt idx="62">
                  <c:v>1</c:v>
                </c:pt>
                <c:pt idx="63">
                  <c:v>1</c:v>
                </c:pt>
                <c:pt idx="64">
                  <c:v>0</c:v>
                </c:pt>
                <c:pt idx="65">
                  <c:v>1</c:v>
                </c:pt>
                <c:pt idx="66">
                  <c:v>2</c:v>
                </c:pt>
                <c:pt idx="67">
                  <c:v>1</c:v>
                </c:pt>
                <c:pt idx="68">
                  <c:v>0</c:v>
                </c:pt>
                <c:pt idx="69">
                  <c:v>0</c:v>
                </c:pt>
                <c:pt idx="70">
                  <c:v>2</c:v>
                </c:pt>
                <c:pt idx="71">
                  <c:v>3</c:v>
                </c:pt>
                <c:pt idx="72">
                  <c:v>1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1</c:v>
                </c:pt>
                <c:pt idx="78">
                  <c:v>0</c:v>
                </c:pt>
                <c:pt idx="79">
                  <c:v>0</c:v>
                </c:pt>
                <c:pt idx="80">
                  <c:v>1</c:v>
                </c:pt>
                <c:pt idx="81">
                  <c:v>1</c:v>
                </c:pt>
                <c:pt idx="82">
                  <c:v>2</c:v>
                </c:pt>
                <c:pt idx="83">
                  <c:v>0</c:v>
                </c:pt>
                <c:pt idx="84">
                  <c:v>1</c:v>
                </c:pt>
                <c:pt idx="85">
                  <c:v>2</c:v>
                </c:pt>
                <c:pt idx="86">
                  <c:v>0</c:v>
                </c:pt>
                <c:pt idx="87">
                  <c:v>1</c:v>
                </c:pt>
                <c:pt idx="88">
                  <c:v>4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1</c:v>
                </c:pt>
                <c:pt idx="93">
                  <c:v>0</c:v>
                </c:pt>
                <c:pt idx="94">
                  <c:v>0</c:v>
                </c:pt>
                <c:pt idx="95">
                  <c:v>2</c:v>
                </c:pt>
                <c:pt idx="96">
                  <c:v>3</c:v>
                </c:pt>
                <c:pt idx="97">
                  <c:v>2</c:v>
                </c:pt>
                <c:pt idx="98">
                  <c:v>2</c:v>
                </c:pt>
                <c:pt idx="99">
                  <c:v>0</c:v>
                </c:pt>
                <c:pt idx="100">
                  <c:v>0</c:v>
                </c:pt>
                <c:pt idx="101">
                  <c:v>1</c:v>
                </c:pt>
                <c:pt idx="102">
                  <c:v>4</c:v>
                </c:pt>
                <c:pt idx="103">
                  <c:v>0</c:v>
                </c:pt>
                <c:pt idx="104">
                  <c:v>4</c:v>
                </c:pt>
                <c:pt idx="105">
                  <c:v>0</c:v>
                </c:pt>
                <c:pt idx="106">
                  <c:v>4</c:v>
                </c:pt>
                <c:pt idx="107">
                  <c:v>1</c:v>
                </c:pt>
                <c:pt idx="108">
                  <c:v>1</c:v>
                </c:pt>
                <c:pt idx="109">
                  <c:v>3</c:v>
                </c:pt>
                <c:pt idx="110">
                  <c:v>0</c:v>
                </c:pt>
                <c:pt idx="111">
                  <c:v>0</c:v>
                </c:pt>
                <c:pt idx="112">
                  <c:v>1</c:v>
                </c:pt>
                <c:pt idx="113">
                  <c:v>1</c:v>
                </c:pt>
                <c:pt idx="114">
                  <c:v>1</c:v>
                </c:pt>
                <c:pt idx="115">
                  <c:v>0</c:v>
                </c:pt>
                <c:pt idx="116">
                  <c:v>0</c:v>
                </c:pt>
                <c:pt idx="117">
                  <c:v>2</c:v>
                </c:pt>
                <c:pt idx="118">
                  <c:v>1</c:v>
                </c:pt>
                <c:pt idx="119">
                  <c:v>0</c:v>
                </c:pt>
                <c:pt idx="120">
                  <c:v>1</c:v>
                </c:pt>
                <c:pt idx="121">
                  <c:v>0</c:v>
                </c:pt>
                <c:pt idx="122">
                  <c:v>0</c:v>
                </c:pt>
                <c:pt idx="123">
                  <c:v>2</c:v>
                </c:pt>
                <c:pt idx="124">
                  <c:v>2</c:v>
                </c:pt>
                <c:pt idx="125">
                  <c:v>2</c:v>
                </c:pt>
                <c:pt idx="126">
                  <c:v>1</c:v>
                </c:pt>
                <c:pt idx="127">
                  <c:v>2</c:v>
                </c:pt>
                <c:pt idx="128">
                  <c:v>3</c:v>
                </c:pt>
                <c:pt idx="129">
                  <c:v>1</c:v>
                </c:pt>
                <c:pt idx="130">
                  <c:v>3</c:v>
                </c:pt>
                <c:pt idx="131">
                  <c:v>3</c:v>
                </c:pt>
                <c:pt idx="132">
                  <c:v>2</c:v>
                </c:pt>
                <c:pt idx="133">
                  <c:v>1</c:v>
                </c:pt>
                <c:pt idx="134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4</c:v>
                </c:pt>
                <c:pt idx="138">
                  <c:v>2</c:v>
                </c:pt>
                <c:pt idx="139">
                  <c:v>0</c:v>
                </c:pt>
                <c:pt idx="140">
                  <c:v>2</c:v>
                </c:pt>
                <c:pt idx="141">
                  <c:v>1</c:v>
                </c:pt>
                <c:pt idx="142">
                  <c:v>2</c:v>
                </c:pt>
                <c:pt idx="143">
                  <c:v>1</c:v>
                </c:pt>
                <c:pt idx="144">
                  <c:v>0</c:v>
                </c:pt>
                <c:pt idx="145">
                  <c:v>2</c:v>
                </c:pt>
                <c:pt idx="146">
                  <c:v>1</c:v>
                </c:pt>
                <c:pt idx="147">
                  <c:v>5</c:v>
                </c:pt>
                <c:pt idx="148">
                  <c:v>6</c:v>
                </c:pt>
                <c:pt idx="149">
                  <c:v>1</c:v>
                </c:pt>
                <c:pt idx="150">
                  <c:v>0</c:v>
                </c:pt>
                <c:pt idx="151">
                  <c:v>2</c:v>
                </c:pt>
                <c:pt idx="152">
                  <c:v>5</c:v>
                </c:pt>
                <c:pt idx="153">
                  <c:v>1</c:v>
                </c:pt>
                <c:pt idx="154">
                  <c:v>4</c:v>
                </c:pt>
                <c:pt idx="155">
                  <c:v>0</c:v>
                </c:pt>
                <c:pt idx="156">
                  <c:v>1</c:v>
                </c:pt>
                <c:pt idx="157">
                  <c:v>2</c:v>
                </c:pt>
                <c:pt idx="158">
                  <c:v>3</c:v>
                </c:pt>
                <c:pt idx="159">
                  <c:v>3</c:v>
                </c:pt>
                <c:pt idx="160">
                  <c:v>3</c:v>
                </c:pt>
                <c:pt idx="161">
                  <c:v>7</c:v>
                </c:pt>
                <c:pt idx="162">
                  <c:v>5</c:v>
                </c:pt>
                <c:pt idx="163">
                  <c:v>2</c:v>
                </c:pt>
                <c:pt idx="164">
                  <c:v>2</c:v>
                </c:pt>
                <c:pt idx="165">
                  <c:v>10</c:v>
                </c:pt>
                <c:pt idx="166">
                  <c:v>7</c:v>
                </c:pt>
                <c:pt idx="167">
                  <c:v>6</c:v>
                </c:pt>
                <c:pt idx="168">
                  <c:v>5</c:v>
                </c:pt>
                <c:pt idx="169">
                  <c:v>7</c:v>
                </c:pt>
                <c:pt idx="170">
                  <c:v>6</c:v>
                </c:pt>
                <c:pt idx="171">
                  <c:v>6</c:v>
                </c:pt>
                <c:pt idx="172">
                  <c:v>5</c:v>
                </c:pt>
                <c:pt idx="173">
                  <c:v>7</c:v>
                </c:pt>
                <c:pt idx="174">
                  <c:v>12</c:v>
                </c:pt>
                <c:pt idx="175">
                  <c:v>15</c:v>
                </c:pt>
                <c:pt idx="176">
                  <c:v>7</c:v>
                </c:pt>
                <c:pt idx="177">
                  <c:v>5</c:v>
                </c:pt>
                <c:pt idx="178">
                  <c:v>8</c:v>
                </c:pt>
                <c:pt idx="179">
                  <c:v>10</c:v>
                </c:pt>
                <c:pt idx="180">
                  <c:v>12</c:v>
                </c:pt>
                <c:pt idx="181">
                  <c:v>9</c:v>
                </c:pt>
                <c:pt idx="182">
                  <c:v>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8FD-43E4-BA1D-0B494D841FF9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Ostatní zdravotničtí pracovníci</c:v>
                </c:pt>
              </c:strCache>
            </c:strRef>
          </c:tx>
          <c:spPr>
            <a:ln w="6350" cap="rnd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-1.3019527064393282E-16"/>
                  <c:y val="-1.3987578141420397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chemeClr val="bg1">
                          <a:lumMod val="50000"/>
                        </a:schemeClr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601304996662368"/>
                      <c:h val="7.530028975770307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CC25-463F-AAD4-4AD72ABB962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25400" cap="rnd">
                <a:solidFill>
                  <a:srgbClr val="A6A6A6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strRef>
              <c:f>List1!$B$1:$GB$1</c:f>
              <c:strCache>
                <c:ptCount val="183"/>
                <c:pt idx="0">
                  <c:v>08.04.21</c:v>
                </c:pt>
                <c:pt idx="1">
                  <c:v>09.04.21</c:v>
                </c:pt>
                <c:pt idx="2">
                  <c:v>10.04.21</c:v>
                </c:pt>
                <c:pt idx="3">
                  <c:v>11.04.21</c:v>
                </c:pt>
                <c:pt idx="4">
                  <c:v>12.04.21</c:v>
                </c:pt>
                <c:pt idx="5">
                  <c:v>13.04.21</c:v>
                </c:pt>
                <c:pt idx="6">
                  <c:v>14.04.21</c:v>
                </c:pt>
                <c:pt idx="7">
                  <c:v>15.04.21</c:v>
                </c:pt>
                <c:pt idx="8">
                  <c:v>16.04.21</c:v>
                </c:pt>
                <c:pt idx="9">
                  <c:v>17.04.21</c:v>
                </c:pt>
                <c:pt idx="10">
                  <c:v>18.04.21</c:v>
                </c:pt>
                <c:pt idx="11">
                  <c:v>19.04.21</c:v>
                </c:pt>
                <c:pt idx="12">
                  <c:v>20.04.21</c:v>
                </c:pt>
                <c:pt idx="13">
                  <c:v>21.04.21</c:v>
                </c:pt>
                <c:pt idx="14">
                  <c:v>22.04.21</c:v>
                </c:pt>
                <c:pt idx="15">
                  <c:v>23.04.21</c:v>
                </c:pt>
                <c:pt idx="16">
                  <c:v>24.04.21</c:v>
                </c:pt>
                <c:pt idx="17">
                  <c:v>25.04.21</c:v>
                </c:pt>
                <c:pt idx="18">
                  <c:v>26.04.21</c:v>
                </c:pt>
                <c:pt idx="19">
                  <c:v>27.04.21</c:v>
                </c:pt>
                <c:pt idx="20">
                  <c:v>28.04.21</c:v>
                </c:pt>
                <c:pt idx="21">
                  <c:v>29.04.21</c:v>
                </c:pt>
                <c:pt idx="22">
                  <c:v>30.04.21</c:v>
                </c:pt>
                <c:pt idx="23">
                  <c:v>01.05.21</c:v>
                </c:pt>
                <c:pt idx="24">
                  <c:v>02.05.21</c:v>
                </c:pt>
                <c:pt idx="25">
                  <c:v>03.05.21</c:v>
                </c:pt>
                <c:pt idx="26">
                  <c:v>04.05.21</c:v>
                </c:pt>
                <c:pt idx="27">
                  <c:v>05.05.21</c:v>
                </c:pt>
                <c:pt idx="28">
                  <c:v>06.05.21</c:v>
                </c:pt>
                <c:pt idx="29">
                  <c:v>07.05.21</c:v>
                </c:pt>
                <c:pt idx="30">
                  <c:v>08.05.21</c:v>
                </c:pt>
                <c:pt idx="31">
                  <c:v>09.05.21</c:v>
                </c:pt>
                <c:pt idx="32">
                  <c:v>10.05.21</c:v>
                </c:pt>
                <c:pt idx="33">
                  <c:v>11.05.21</c:v>
                </c:pt>
                <c:pt idx="34">
                  <c:v>12.05.21</c:v>
                </c:pt>
                <c:pt idx="35">
                  <c:v>13.05.21</c:v>
                </c:pt>
                <c:pt idx="36">
                  <c:v>14.05.21</c:v>
                </c:pt>
                <c:pt idx="37">
                  <c:v>15.05.21</c:v>
                </c:pt>
                <c:pt idx="38">
                  <c:v>16.05.21</c:v>
                </c:pt>
                <c:pt idx="39">
                  <c:v>17.05.21</c:v>
                </c:pt>
                <c:pt idx="40">
                  <c:v>18.05.21</c:v>
                </c:pt>
                <c:pt idx="41">
                  <c:v>19.05.21</c:v>
                </c:pt>
                <c:pt idx="42">
                  <c:v>20.05.21</c:v>
                </c:pt>
                <c:pt idx="43">
                  <c:v>21.05.21</c:v>
                </c:pt>
                <c:pt idx="44">
                  <c:v>22.05.21</c:v>
                </c:pt>
                <c:pt idx="45">
                  <c:v>23.05.21</c:v>
                </c:pt>
                <c:pt idx="46">
                  <c:v>24.05.21</c:v>
                </c:pt>
                <c:pt idx="47">
                  <c:v>25.05.21</c:v>
                </c:pt>
                <c:pt idx="48">
                  <c:v>26.05.21</c:v>
                </c:pt>
                <c:pt idx="49">
                  <c:v>27.05.21</c:v>
                </c:pt>
                <c:pt idx="50">
                  <c:v>28.05.21</c:v>
                </c:pt>
                <c:pt idx="51">
                  <c:v>29.05.21</c:v>
                </c:pt>
                <c:pt idx="52">
                  <c:v>30.05.21</c:v>
                </c:pt>
                <c:pt idx="53">
                  <c:v>31.05.21</c:v>
                </c:pt>
                <c:pt idx="54">
                  <c:v>01.06.21</c:v>
                </c:pt>
                <c:pt idx="55">
                  <c:v>02.06.21</c:v>
                </c:pt>
                <c:pt idx="56">
                  <c:v>03.06.21</c:v>
                </c:pt>
                <c:pt idx="57">
                  <c:v>04.06.21</c:v>
                </c:pt>
                <c:pt idx="58">
                  <c:v>05.06.21</c:v>
                </c:pt>
                <c:pt idx="59">
                  <c:v>06.06.21</c:v>
                </c:pt>
                <c:pt idx="60">
                  <c:v>07.06.21</c:v>
                </c:pt>
                <c:pt idx="61">
                  <c:v>08.06.21</c:v>
                </c:pt>
                <c:pt idx="62">
                  <c:v>09.06.21</c:v>
                </c:pt>
                <c:pt idx="63">
                  <c:v>10.06.21</c:v>
                </c:pt>
                <c:pt idx="64">
                  <c:v>11.06.21</c:v>
                </c:pt>
                <c:pt idx="65">
                  <c:v>12.06.21</c:v>
                </c:pt>
                <c:pt idx="66">
                  <c:v>13.06.21</c:v>
                </c:pt>
                <c:pt idx="67">
                  <c:v>14.06.21</c:v>
                </c:pt>
                <c:pt idx="68">
                  <c:v>15.06.21</c:v>
                </c:pt>
                <c:pt idx="69">
                  <c:v>16.06.21</c:v>
                </c:pt>
                <c:pt idx="70">
                  <c:v>17.06.21</c:v>
                </c:pt>
                <c:pt idx="71">
                  <c:v>18.06.21</c:v>
                </c:pt>
                <c:pt idx="72">
                  <c:v>19.06.21</c:v>
                </c:pt>
                <c:pt idx="73">
                  <c:v>20.06.21</c:v>
                </c:pt>
                <c:pt idx="74">
                  <c:v>21.06.21</c:v>
                </c:pt>
                <c:pt idx="75">
                  <c:v>22.06.21</c:v>
                </c:pt>
                <c:pt idx="76">
                  <c:v>23.06.21</c:v>
                </c:pt>
                <c:pt idx="77">
                  <c:v>24.06.21</c:v>
                </c:pt>
                <c:pt idx="78">
                  <c:v>25.06.21</c:v>
                </c:pt>
                <c:pt idx="79">
                  <c:v>26.06.21</c:v>
                </c:pt>
                <c:pt idx="80">
                  <c:v>27.06.21</c:v>
                </c:pt>
                <c:pt idx="81">
                  <c:v>28.06.21</c:v>
                </c:pt>
                <c:pt idx="82">
                  <c:v>29.06.21</c:v>
                </c:pt>
                <c:pt idx="83">
                  <c:v>30.06.21</c:v>
                </c:pt>
                <c:pt idx="84">
                  <c:v>01.07.21</c:v>
                </c:pt>
                <c:pt idx="85">
                  <c:v>02.07.21</c:v>
                </c:pt>
                <c:pt idx="86">
                  <c:v>03.07.21</c:v>
                </c:pt>
                <c:pt idx="87">
                  <c:v>04.07.21</c:v>
                </c:pt>
                <c:pt idx="88">
                  <c:v>05.07.21</c:v>
                </c:pt>
                <c:pt idx="89">
                  <c:v>06.07.21</c:v>
                </c:pt>
                <c:pt idx="90">
                  <c:v>07.07.21</c:v>
                </c:pt>
                <c:pt idx="91">
                  <c:v>08.07.21</c:v>
                </c:pt>
                <c:pt idx="92">
                  <c:v>09.07.21</c:v>
                </c:pt>
                <c:pt idx="93">
                  <c:v>10.07.21</c:v>
                </c:pt>
                <c:pt idx="94">
                  <c:v>11.07.21</c:v>
                </c:pt>
                <c:pt idx="95">
                  <c:v>12.07.21</c:v>
                </c:pt>
                <c:pt idx="96">
                  <c:v>13.07.21</c:v>
                </c:pt>
                <c:pt idx="97">
                  <c:v>14.07.21</c:v>
                </c:pt>
                <c:pt idx="98">
                  <c:v>15.07.21</c:v>
                </c:pt>
                <c:pt idx="99">
                  <c:v>16.07.21</c:v>
                </c:pt>
                <c:pt idx="100">
                  <c:v>17.07.21</c:v>
                </c:pt>
                <c:pt idx="101">
                  <c:v>18.07.21</c:v>
                </c:pt>
                <c:pt idx="102">
                  <c:v>19.07.21</c:v>
                </c:pt>
                <c:pt idx="103">
                  <c:v>20.07.21</c:v>
                </c:pt>
                <c:pt idx="104">
                  <c:v>21.07.21</c:v>
                </c:pt>
                <c:pt idx="105">
                  <c:v>22.07.21</c:v>
                </c:pt>
                <c:pt idx="106">
                  <c:v>23.07.21</c:v>
                </c:pt>
                <c:pt idx="107">
                  <c:v>24.07.21</c:v>
                </c:pt>
                <c:pt idx="108">
                  <c:v>25.07.21</c:v>
                </c:pt>
                <c:pt idx="109">
                  <c:v>26.07.21</c:v>
                </c:pt>
                <c:pt idx="110">
                  <c:v>27.07.21</c:v>
                </c:pt>
                <c:pt idx="111">
                  <c:v>28.07.21</c:v>
                </c:pt>
                <c:pt idx="112">
                  <c:v>29.07.21</c:v>
                </c:pt>
                <c:pt idx="113">
                  <c:v>30.07.21</c:v>
                </c:pt>
                <c:pt idx="114">
                  <c:v>31.07.21</c:v>
                </c:pt>
                <c:pt idx="115">
                  <c:v>01.08.21</c:v>
                </c:pt>
                <c:pt idx="116">
                  <c:v>02.08.21</c:v>
                </c:pt>
                <c:pt idx="117">
                  <c:v>03.08.21</c:v>
                </c:pt>
                <c:pt idx="118">
                  <c:v>04.08.21</c:v>
                </c:pt>
                <c:pt idx="119">
                  <c:v>05.08.21</c:v>
                </c:pt>
                <c:pt idx="120">
                  <c:v>06.08.21</c:v>
                </c:pt>
                <c:pt idx="121">
                  <c:v>07.08.21</c:v>
                </c:pt>
                <c:pt idx="122">
                  <c:v>08.08.21</c:v>
                </c:pt>
                <c:pt idx="123">
                  <c:v>09.08.21</c:v>
                </c:pt>
                <c:pt idx="124">
                  <c:v>10.08.21</c:v>
                </c:pt>
                <c:pt idx="125">
                  <c:v>11.08.21</c:v>
                </c:pt>
                <c:pt idx="126">
                  <c:v>12.08.21</c:v>
                </c:pt>
                <c:pt idx="127">
                  <c:v>13.08.21</c:v>
                </c:pt>
                <c:pt idx="128">
                  <c:v>14.08.21</c:v>
                </c:pt>
                <c:pt idx="129">
                  <c:v>15.08.21</c:v>
                </c:pt>
                <c:pt idx="130">
                  <c:v>16.08.21</c:v>
                </c:pt>
                <c:pt idx="131">
                  <c:v>17.08.21</c:v>
                </c:pt>
                <c:pt idx="132">
                  <c:v>18.08.21</c:v>
                </c:pt>
                <c:pt idx="133">
                  <c:v>19.08.21</c:v>
                </c:pt>
                <c:pt idx="134">
                  <c:v>20.08.21</c:v>
                </c:pt>
                <c:pt idx="135">
                  <c:v>21.08.21</c:v>
                </c:pt>
                <c:pt idx="136">
                  <c:v>22.08.21</c:v>
                </c:pt>
                <c:pt idx="137">
                  <c:v>23.08.21</c:v>
                </c:pt>
                <c:pt idx="138">
                  <c:v>24.08.21</c:v>
                </c:pt>
                <c:pt idx="139">
                  <c:v>25.08.21</c:v>
                </c:pt>
                <c:pt idx="140">
                  <c:v>26.08.21</c:v>
                </c:pt>
                <c:pt idx="141">
                  <c:v>27.08.21</c:v>
                </c:pt>
                <c:pt idx="142">
                  <c:v>28.08.21</c:v>
                </c:pt>
                <c:pt idx="143">
                  <c:v>29.08.21</c:v>
                </c:pt>
                <c:pt idx="144">
                  <c:v>30.08.21</c:v>
                </c:pt>
                <c:pt idx="145">
                  <c:v>31.08.21</c:v>
                </c:pt>
                <c:pt idx="146">
                  <c:v>01.09.21</c:v>
                </c:pt>
                <c:pt idx="147">
                  <c:v>02.09.21</c:v>
                </c:pt>
                <c:pt idx="148">
                  <c:v>03.09.21</c:v>
                </c:pt>
                <c:pt idx="149">
                  <c:v>04.09.21</c:v>
                </c:pt>
                <c:pt idx="150">
                  <c:v>05.09.21</c:v>
                </c:pt>
                <c:pt idx="151">
                  <c:v>06.09.21</c:v>
                </c:pt>
                <c:pt idx="152">
                  <c:v>07.09.21</c:v>
                </c:pt>
                <c:pt idx="153">
                  <c:v>08.09.21</c:v>
                </c:pt>
                <c:pt idx="154">
                  <c:v>09.09.21</c:v>
                </c:pt>
                <c:pt idx="155">
                  <c:v>10.09.21</c:v>
                </c:pt>
                <c:pt idx="156">
                  <c:v>11.09.21</c:v>
                </c:pt>
                <c:pt idx="157">
                  <c:v>12.09.21</c:v>
                </c:pt>
                <c:pt idx="158">
                  <c:v>13.09.21</c:v>
                </c:pt>
                <c:pt idx="159">
                  <c:v>14.09.21</c:v>
                </c:pt>
                <c:pt idx="160">
                  <c:v>15.09.21</c:v>
                </c:pt>
                <c:pt idx="161">
                  <c:v>16.09.21</c:v>
                </c:pt>
                <c:pt idx="162">
                  <c:v>17.09.21</c:v>
                </c:pt>
                <c:pt idx="163">
                  <c:v>18.09.21</c:v>
                </c:pt>
                <c:pt idx="164">
                  <c:v>19.09.21</c:v>
                </c:pt>
                <c:pt idx="165">
                  <c:v>20.09.21</c:v>
                </c:pt>
                <c:pt idx="166">
                  <c:v>21.09.21</c:v>
                </c:pt>
                <c:pt idx="167">
                  <c:v>22.09.21</c:v>
                </c:pt>
                <c:pt idx="168">
                  <c:v>23.09.21</c:v>
                </c:pt>
                <c:pt idx="169">
                  <c:v>24.09.21</c:v>
                </c:pt>
                <c:pt idx="170">
                  <c:v>25.09.21</c:v>
                </c:pt>
                <c:pt idx="171">
                  <c:v>26.09.21</c:v>
                </c:pt>
                <c:pt idx="172">
                  <c:v>27.09.21</c:v>
                </c:pt>
                <c:pt idx="173">
                  <c:v>28.09.21</c:v>
                </c:pt>
                <c:pt idx="174">
                  <c:v>29.09.21</c:v>
                </c:pt>
                <c:pt idx="175">
                  <c:v>30.09.21</c:v>
                </c:pt>
                <c:pt idx="176">
                  <c:v>01.10.21</c:v>
                </c:pt>
                <c:pt idx="177">
                  <c:v>02.10.21</c:v>
                </c:pt>
                <c:pt idx="178">
                  <c:v>03.10.21</c:v>
                </c:pt>
                <c:pt idx="179">
                  <c:v>04.10.21</c:v>
                </c:pt>
                <c:pt idx="180">
                  <c:v>05.10.21</c:v>
                </c:pt>
                <c:pt idx="181">
                  <c:v>06.10.21</c:v>
                </c:pt>
                <c:pt idx="182">
                  <c:v>07.10.21</c:v>
                </c:pt>
              </c:strCache>
            </c:strRef>
          </c:cat>
          <c:val>
            <c:numRef>
              <c:f>List1!$B$4:$GB$4</c:f>
              <c:numCache>
                <c:formatCode>General</c:formatCode>
                <c:ptCount val="183"/>
                <c:pt idx="0">
                  <c:v>52</c:v>
                </c:pt>
                <c:pt idx="1">
                  <c:v>35</c:v>
                </c:pt>
                <c:pt idx="2">
                  <c:v>15</c:v>
                </c:pt>
                <c:pt idx="3">
                  <c:v>5</c:v>
                </c:pt>
                <c:pt idx="4">
                  <c:v>30</c:v>
                </c:pt>
                <c:pt idx="5">
                  <c:v>35</c:v>
                </c:pt>
                <c:pt idx="6">
                  <c:v>26</c:v>
                </c:pt>
                <c:pt idx="7">
                  <c:v>23</c:v>
                </c:pt>
                <c:pt idx="8">
                  <c:v>21</c:v>
                </c:pt>
                <c:pt idx="9">
                  <c:v>9</c:v>
                </c:pt>
                <c:pt idx="10">
                  <c:v>6</c:v>
                </c:pt>
                <c:pt idx="11">
                  <c:v>25</c:v>
                </c:pt>
                <c:pt idx="12">
                  <c:v>25</c:v>
                </c:pt>
                <c:pt idx="13">
                  <c:v>32</c:v>
                </c:pt>
                <c:pt idx="14">
                  <c:v>12</c:v>
                </c:pt>
                <c:pt idx="15">
                  <c:v>15</c:v>
                </c:pt>
                <c:pt idx="16">
                  <c:v>6</c:v>
                </c:pt>
                <c:pt idx="17">
                  <c:v>3</c:v>
                </c:pt>
                <c:pt idx="18">
                  <c:v>18</c:v>
                </c:pt>
                <c:pt idx="19">
                  <c:v>21</c:v>
                </c:pt>
                <c:pt idx="20">
                  <c:v>16</c:v>
                </c:pt>
                <c:pt idx="21">
                  <c:v>23</c:v>
                </c:pt>
                <c:pt idx="22">
                  <c:v>19</c:v>
                </c:pt>
                <c:pt idx="23">
                  <c:v>7</c:v>
                </c:pt>
                <c:pt idx="24">
                  <c:v>4</c:v>
                </c:pt>
                <c:pt idx="25">
                  <c:v>15</c:v>
                </c:pt>
                <c:pt idx="26">
                  <c:v>19</c:v>
                </c:pt>
                <c:pt idx="27">
                  <c:v>13</c:v>
                </c:pt>
                <c:pt idx="28">
                  <c:v>14</c:v>
                </c:pt>
                <c:pt idx="29">
                  <c:v>14</c:v>
                </c:pt>
                <c:pt idx="30">
                  <c:v>4</c:v>
                </c:pt>
                <c:pt idx="31">
                  <c:v>2</c:v>
                </c:pt>
                <c:pt idx="32">
                  <c:v>10</c:v>
                </c:pt>
                <c:pt idx="33">
                  <c:v>17</c:v>
                </c:pt>
                <c:pt idx="34">
                  <c:v>9</c:v>
                </c:pt>
                <c:pt idx="35">
                  <c:v>12</c:v>
                </c:pt>
                <c:pt idx="36">
                  <c:v>9</c:v>
                </c:pt>
                <c:pt idx="37">
                  <c:v>5</c:v>
                </c:pt>
                <c:pt idx="38">
                  <c:v>3</c:v>
                </c:pt>
                <c:pt idx="39">
                  <c:v>8</c:v>
                </c:pt>
                <c:pt idx="40">
                  <c:v>7</c:v>
                </c:pt>
                <c:pt idx="41">
                  <c:v>3</c:v>
                </c:pt>
                <c:pt idx="42">
                  <c:v>6</c:v>
                </c:pt>
                <c:pt idx="43">
                  <c:v>4</c:v>
                </c:pt>
                <c:pt idx="44">
                  <c:v>1</c:v>
                </c:pt>
                <c:pt idx="45">
                  <c:v>0</c:v>
                </c:pt>
                <c:pt idx="46">
                  <c:v>6</c:v>
                </c:pt>
                <c:pt idx="47">
                  <c:v>0</c:v>
                </c:pt>
                <c:pt idx="48">
                  <c:v>6</c:v>
                </c:pt>
                <c:pt idx="49">
                  <c:v>1</c:v>
                </c:pt>
                <c:pt idx="50">
                  <c:v>2</c:v>
                </c:pt>
                <c:pt idx="51">
                  <c:v>3</c:v>
                </c:pt>
                <c:pt idx="52">
                  <c:v>0</c:v>
                </c:pt>
                <c:pt idx="53">
                  <c:v>2</c:v>
                </c:pt>
                <c:pt idx="54">
                  <c:v>1</c:v>
                </c:pt>
                <c:pt idx="55">
                  <c:v>1</c:v>
                </c:pt>
                <c:pt idx="56">
                  <c:v>2</c:v>
                </c:pt>
                <c:pt idx="57">
                  <c:v>1</c:v>
                </c:pt>
                <c:pt idx="58">
                  <c:v>1</c:v>
                </c:pt>
                <c:pt idx="59">
                  <c:v>0</c:v>
                </c:pt>
                <c:pt idx="60">
                  <c:v>2</c:v>
                </c:pt>
                <c:pt idx="61">
                  <c:v>1</c:v>
                </c:pt>
                <c:pt idx="62">
                  <c:v>2</c:v>
                </c:pt>
                <c:pt idx="63">
                  <c:v>1</c:v>
                </c:pt>
                <c:pt idx="64">
                  <c:v>0</c:v>
                </c:pt>
                <c:pt idx="65">
                  <c:v>1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1</c:v>
                </c:pt>
                <c:pt idx="70">
                  <c:v>2</c:v>
                </c:pt>
                <c:pt idx="71">
                  <c:v>0</c:v>
                </c:pt>
                <c:pt idx="72">
                  <c:v>1</c:v>
                </c:pt>
                <c:pt idx="73">
                  <c:v>1</c:v>
                </c:pt>
                <c:pt idx="74">
                  <c:v>0</c:v>
                </c:pt>
                <c:pt idx="75">
                  <c:v>0</c:v>
                </c:pt>
                <c:pt idx="76">
                  <c:v>2</c:v>
                </c:pt>
                <c:pt idx="77">
                  <c:v>2</c:v>
                </c:pt>
                <c:pt idx="78">
                  <c:v>0</c:v>
                </c:pt>
                <c:pt idx="79">
                  <c:v>1</c:v>
                </c:pt>
                <c:pt idx="80">
                  <c:v>2</c:v>
                </c:pt>
                <c:pt idx="81">
                  <c:v>0</c:v>
                </c:pt>
                <c:pt idx="82">
                  <c:v>1</c:v>
                </c:pt>
                <c:pt idx="83">
                  <c:v>0</c:v>
                </c:pt>
                <c:pt idx="84">
                  <c:v>0</c:v>
                </c:pt>
                <c:pt idx="85">
                  <c:v>1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1</c:v>
                </c:pt>
                <c:pt idx="90">
                  <c:v>1</c:v>
                </c:pt>
                <c:pt idx="91">
                  <c:v>4</c:v>
                </c:pt>
                <c:pt idx="92">
                  <c:v>4</c:v>
                </c:pt>
                <c:pt idx="93">
                  <c:v>0</c:v>
                </c:pt>
                <c:pt idx="94">
                  <c:v>0</c:v>
                </c:pt>
                <c:pt idx="95">
                  <c:v>3</c:v>
                </c:pt>
                <c:pt idx="96">
                  <c:v>0</c:v>
                </c:pt>
                <c:pt idx="97">
                  <c:v>4</c:v>
                </c:pt>
                <c:pt idx="98">
                  <c:v>2</c:v>
                </c:pt>
                <c:pt idx="99">
                  <c:v>5</c:v>
                </c:pt>
                <c:pt idx="100">
                  <c:v>1</c:v>
                </c:pt>
                <c:pt idx="101">
                  <c:v>1</c:v>
                </c:pt>
                <c:pt idx="102">
                  <c:v>3</c:v>
                </c:pt>
                <c:pt idx="103">
                  <c:v>5</c:v>
                </c:pt>
                <c:pt idx="104">
                  <c:v>1</c:v>
                </c:pt>
                <c:pt idx="105">
                  <c:v>3</c:v>
                </c:pt>
                <c:pt idx="106">
                  <c:v>2</c:v>
                </c:pt>
                <c:pt idx="107">
                  <c:v>0</c:v>
                </c:pt>
                <c:pt idx="108">
                  <c:v>1</c:v>
                </c:pt>
                <c:pt idx="109">
                  <c:v>3</c:v>
                </c:pt>
                <c:pt idx="110">
                  <c:v>4</c:v>
                </c:pt>
                <c:pt idx="111">
                  <c:v>1</c:v>
                </c:pt>
                <c:pt idx="112">
                  <c:v>3</c:v>
                </c:pt>
                <c:pt idx="113">
                  <c:v>1</c:v>
                </c:pt>
                <c:pt idx="114">
                  <c:v>1</c:v>
                </c:pt>
                <c:pt idx="115">
                  <c:v>1</c:v>
                </c:pt>
                <c:pt idx="116">
                  <c:v>2</c:v>
                </c:pt>
                <c:pt idx="117">
                  <c:v>3</c:v>
                </c:pt>
                <c:pt idx="118">
                  <c:v>3</c:v>
                </c:pt>
                <c:pt idx="119">
                  <c:v>1</c:v>
                </c:pt>
                <c:pt idx="120">
                  <c:v>2</c:v>
                </c:pt>
                <c:pt idx="121">
                  <c:v>1</c:v>
                </c:pt>
                <c:pt idx="122">
                  <c:v>0</c:v>
                </c:pt>
                <c:pt idx="123">
                  <c:v>6</c:v>
                </c:pt>
                <c:pt idx="124">
                  <c:v>0</c:v>
                </c:pt>
                <c:pt idx="125">
                  <c:v>1</c:v>
                </c:pt>
                <c:pt idx="126">
                  <c:v>2</c:v>
                </c:pt>
                <c:pt idx="127">
                  <c:v>5</c:v>
                </c:pt>
                <c:pt idx="128">
                  <c:v>2</c:v>
                </c:pt>
                <c:pt idx="129">
                  <c:v>1</c:v>
                </c:pt>
                <c:pt idx="130">
                  <c:v>1</c:v>
                </c:pt>
                <c:pt idx="131">
                  <c:v>1</c:v>
                </c:pt>
                <c:pt idx="132">
                  <c:v>1</c:v>
                </c:pt>
                <c:pt idx="133">
                  <c:v>0</c:v>
                </c:pt>
                <c:pt idx="134">
                  <c:v>3</c:v>
                </c:pt>
                <c:pt idx="135">
                  <c:v>1</c:v>
                </c:pt>
                <c:pt idx="136">
                  <c:v>2</c:v>
                </c:pt>
                <c:pt idx="137">
                  <c:v>1</c:v>
                </c:pt>
                <c:pt idx="138">
                  <c:v>2</c:v>
                </c:pt>
                <c:pt idx="139">
                  <c:v>5</c:v>
                </c:pt>
                <c:pt idx="140">
                  <c:v>2</c:v>
                </c:pt>
                <c:pt idx="141">
                  <c:v>2</c:v>
                </c:pt>
                <c:pt idx="142">
                  <c:v>0</c:v>
                </c:pt>
                <c:pt idx="143">
                  <c:v>1</c:v>
                </c:pt>
                <c:pt idx="144">
                  <c:v>1</c:v>
                </c:pt>
                <c:pt idx="145">
                  <c:v>1</c:v>
                </c:pt>
                <c:pt idx="146">
                  <c:v>2</c:v>
                </c:pt>
                <c:pt idx="147">
                  <c:v>4</c:v>
                </c:pt>
                <c:pt idx="148">
                  <c:v>6</c:v>
                </c:pt>
                <c:pt idx="149">
                  <c:v>5</c:v>
                </c:pt>
                <c:pt idx="150">
                  <c:v>1</c:v>
                </c:pt>
                <c:pt idx="151">
                  <c:v>5</c:v>
                </c:pt>
                <c:pt idx="152">
                  <c:v>5</c:v>
                </c:pt>
                <c:pt idx="153">
                  <c:v>1</c:v>
                </c:pt>
                <c:pt idx="154">
                  <c:v>3</c:v>
                </c:pt>
                <c:pt idx="155">
                  <c:v>2</c:v>
                </c:pt>
                <c:pt idx="156">
                  <c:v>0</c:v>
                </c:pt>
                <c:pt idx="157">
                  <c:v>3</c:v>
                </c:pt>
                <c:pt idx="158">
                  <c:v>2</c:v>
                </c:pt>
                <c:pt idx="159">
                  <c:v>3</c:v>
                </c:pt>
                <c:pt idx="160">
                  <c:v>5</c:v>
                </c:pt>
                <c:pt idx="161">
                  <c:v>7</c:v>
                </c:pt>
                <c:pt idx="162">
                  <c:v>4</c:v>
                </c:pt>
                <c:pt idx="163">
                  <c:v>2</c:v>
                </c:pt>
                <c:pt idx="164">
                  <c:v>5</c:v>
                </c:pt>
                <c:pt idx="165">
                  <c:v>8</c:v>
                </c:pt>
                <c:pt idx="166">
                  <c:v>10</c:v>
                </c:pt>
                <c:pt idx="167">
                  <c:v>8</c:v>
                </c:pt>
                <c:pt idx="168">
                  <c:v>5</c:v>
                </c:pt>
                <c:pt idx="169">
                  <c:v>4</c:v>
                </c:pt>
                <c:pt idx="170">
                  <c:v>4</c:v>
                </c:pt>
                <c:pt idx="171">
                  <c:v>2</c:v>
                </c:pt>
                <c:pt idx="172">
                  <c:v>7</c:v>
                </c:pt>
                <c:pt idx="173">
                  <c:v>6</c:v>
                </c:pt>
                <c:pt idx="174">
                  <c:v>7</c:v>
                </c:pt>
                <c:pt idx="175">
                  <c:v>12</c:v>
                </c:pt>
                <c:pt idx="176">
                  <c:v>8</c:v>
                </c:pt>
                <c:pt idx="177">
                  <c:v>4</c:v>
                </c:pt>
                <c:pt idx="178">
                  <c:v>7</c:v>
                </c:pt>
                <c:pt idx="179">
                  <c:v>7</c:v>
                </c:pt>
                <c:pt idx="180">
                  <c:v>11</c:v>
                </c:pt>
                <c:pt idx="181">
                  <c:v>13</c:v>
                </c:pt>
                <c:pt idx="182">
                  <c:v>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8FD-43E4-BA1D-0B494D841F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04314152"/>
        <c:axId val="604312192"/>
      </c:lineChart>
      <c:catAx>
        <c:axId val="604314152"/>
        <c:scaling>
          <c:orientation val="minMax"/>
        </c:scaling>
        <c:delete val="0"/>
        <c:axPos val="b"/>
        <c:numFmt formatCode="dd/mm/yy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2192"/>
        <c:crosses val="autoZero"/>
        <c:auto val="1"/>
        <c:lblAlgn val="ctr"/>
        <c:lblOffset val="100"/>
        <c:tickLblSkip val="7"/>
        <c:noMultiLvlLbl val="0"/>
      </c:catAx>
      <c:valAx>
        <c:axId val="604312192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41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2895491925027349E-2"/>
          <c:y val="2.8733097084892491E-2"/>
          <c:w val="0.69322079746689458"/>
          <c:h val="0.83918438300516462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Lékaři</c:v>
                </c:pt>
              </c:strCache>
            </c:strRef>
          </c:tx>
          <c:spPr>
            <a:ln w="28575" cap="rnd">
              <a:solidFill>
                <a:srgbClr val="4472C4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-1.3019527064393282E-16"/>
                  <c:y val="2.3312783206719222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rgbClr val="4472C4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601304996662368"/>
                      <c:h val="4.114706235985942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37CD-4BA3-857E-B86804E5EE0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B$1</c:f>
              <c:strCache>
                <c:ptCount val="183"/>
                <c:pt idx="0">
                  <c:v>08.04.21</c:v>
                </c:pt>
                <c:pt idx="1">
                  <c:v>09.04.21</c:v>
                </c:pt>
                <c:pt idx="2">
                  <c:v>10.04.21</c:v>
                </c:pt>
                <c:pt idx="3">
                  <c:v>11.04.21</c:v>
                </c:pt>
                <c:pt idx="4">
                  <c:v>12.04.21</c:v>
                </c:pt>
                <c:pt idx="5">
                  <c:v>13.04.21</c:v>
                </c:pt>
                <c:pt idx="6">
                  <c:v>14.04.21</c:v>
                </c:pt>
                <c:pt idx="7">
                  <c:v>15.04.21</c:v>
                </c:pt>
                <c:pt idx="8">
                  <c:v>16.04.21</c:v>
                </c:pt>
                <c:pt idx="9">
                  <c:v>17.04.21</c:v>
                </c:pt>
                <c:pt idx="10">
                  <c:v>18.04.21</c:v>
                </c:pt>
                <c:pt idx="11">
                  <c:v>19.04.21</c:v>
                </c:pt>
                <c:pt idx="12">
                  <c:v>20.04.21</c:v>
                </c:pt>
                <c:pt idx="13">
                  <c:v>21.04.21</c:v>
                </c:pt>
                <c:pt idx="14">
                  <c:v>22.04.21</c:v>
                </c:pt>
                <c:pt idx="15">
                  <c:v>23.04.21</c:v>
                </c:pt>
                <c:pt idx="16">
                  <c:v>24.04.21</c:v>
                </c:pt>
                <c:pt idx="17">
                  <c:v>25.04.21</c:v>
                </c:pt>
                <c:pt idx="18">
                  <c:v>26.04.21</c:v>
                </c:pt>
                <c:pt idx="19">
                  <c:v>27.04.21</c:v>
                </c:pt>
                <c:pt idx="20">
                  <c:v>28.04.21</c:v>
                </c:pt>
                <c:pt idx="21">
                  <c:v>29.04.21</c:v>
                </c:pt>
                <c:pt idx="22">
                  <c:v>30.04.21</c:v>
                </c:pt>
                <c:pt idx="23">
                  <c:v>01.05.21</c:v>
                </c:pt>
                <c:pt idx="24">
                  <c:v>02.05.21</c:v>
                </c:pt>
                <c:pt idx="25">
                  <c:v>03.05.21</c:v>
                </c:pt>
                <c:pt idx="26">
                  <c:v>04.05.21</c:v>
                </c:pt>
                <c:pt idx="27">
                  <c:v>05.05.21</c:v>
                </c:pt>
                <c:pt idx="28">
                  <c:v>06.05.21</c:v>
                </c:pt>
                <c:pt idx="29">
                  <c:v>07.05.21</c:v>
                </c:pt>
                <c:pt idx="30">
                  <c:v>08.05.21</c:v>
                </c:pt>
                <c:pt idx="31">
                  <c:v>09.05.21</c:v>
                </c:pt>
                <c:pt idx="32">
                  <c:v>10.05.21</c:v>
                </c:pt>
                <c:pt idx="33">
                  <c:v>11.05.21</c:v>
                </c:pt>
                <c:pt idx="34">
                  <c:v>12.05.21</c:v>
                </c:pt>
                <c:pt idx="35">
                  <c:v>13.05.21</c:v>
                </c:pt>
                <c:pt idx="36">
                  <c:v>14.05.21</c:v>
                </c:pt>
                <c:pt idx="37">
                  <c:v>15.05.21</c:v>
                </c:pt>
                <c:pt idx="38">
                  <c:v>16.05.21</c:v>
                </c:pt>
                <c:pt idx="39">
                  <c:v>17.05.21</c:v>
                </c:pt>
                <c:pt idx="40">
                  <c:v>18.05.21</c:v>
                </c:pt>
                <c:pt idx="41">
                  <c:v>19.05.21</c:v>
                </c:pt>
                <c:pt idx="42">
                  <c:v>20.05.21</c:v>
                </c:pt>
                <c:pt idx="43">
                  <c:v>21.05.21</c:v>
                </c:pt>
                <c:pt idx="44">
                  <c:v>22.05.21</c:v>
                </c:pt>
                <c:pt idx="45">
                  <c:v>23.05.21</c:v>
                </c:pt>
                <c:pt idx="46">
                  <c:v>24.05.21</c:v>
                </c:pt>
                <c:pt idx="47">
                  <c:v>25.05.21</c:v>
                </c:pt>
                <c:pt idx="48">
                  <c:v>26.05.21</c:v>
                </c:pt>
                <c:pt idx="49">
                  <c:v>27.05.21</c:v>
                </c:pt>
                <c:pt idx="50">
                  <c:v>28.05.21</c:v>
                </c:pt>
                <c:pt idx="51">
                  <c:v>29.05.21</c:v>
                </c:pt>
                <c:pt idx="52">
                  <c:v>30.05.21</c:v>
                </c:pt>
                <c:pt idx="53">
                  <c:v>31.05.21</c:v>
                </c:pt>
                <c:pt idx="54">
                  <c:v>01.06.21</c:v>
                </c:pt>
                <c:pt idx="55">
                  <c:v>02.06.21</c:v>
                </c:pt>
                <c:pt idx="56">
                  <c:v>03.06.21</c:v>
                </c:pt>
                <c:pt idx="57">
                  <c:v>04.06.21</c:v>
                </c:pt>
                <c:pt idx="58">
                  <c:v>05.06.21</c:v>
                </c:pt>
                <c:pt idx="59">
                  <c:v>06.06.21</c:v>
                </c:pt>
                <c:pt idx="60">
                  <c:v>07.06.21</c:v>
                </c:pt>
                <c:pt idx="61">
                  <c:v>08.06.21</c:v>
                </c:pt>
                <c:pt idx="62">
                  <c:v>09.06.21</c:v>
                </c:pt>
                <c:pt idx="63">
                  <c:v>10.06.21</c:v>
                </c:pt>
                <c:pt idx="64">
                  <c:v>11.06.21</c:v>
                </c:pt>
                <c:pt idx="65">
                  <c:v>12.06.21</c:v>
                </c:pt>
                <c:pt idx="66">
                  <c:v>13.06.21</c:v>
                </c:pt>
                <c:pt idx="67">
                  <c:v>14.06.21</c:v>
                </c:pt>
                <c:pt idx="68">
                  <c:v>15.06.21</c:v>
                </c:pt>
                <c:pt idx="69">
                  <c:v>16.06.21</c:v>
                </c:pt>
                <c:pt idx="70">
                  <c:v>17.06.21</c:v>
                </c:pt>
                <c:pt idx="71">
                  <c:v>18.06.21</c:v>
                </c:pt>
                <c:pt idx="72">
                  <c:v>19.06.21</c:v>
                </c:pt>
                <c:pt idx="73">
                  <c:v>20.06.21</c:v>
                </c:pt>
                <c:pt idx="74">
                  <c:v>21.06.21</c:v>
                </c:pt>
                <c:pt idx="75">
                  <c:v>22.06.21</c:v>
                </c:pt>
                <c:pt idx="76">
                  <c:v>23.06.21</c:v>
                </c:pt>
                <c:pt idx="77">
                  <c:v>24.06.21</c:v>
                </c:pt>
                <c:pt idx="78">
                  <c:v>25.06.21</c:v>
                </c:pt>
                <c:pt idx="79">
                  <c:v>26.06.21</c:v>
                </c:pt>
                <c:pt idx="80">
                  <c:v>27.06.21</c:v>
                </c:pt>
                <c:pt idx="81">
                  <c:v>28.06.21</c:v>
                </c:pt>
                <c:pt idx="82">
                  <c:v>29.06.21</c:v>
                </c:pt>
                <c:pt idx="83">
                  <c:v>30.06.21</c:v>
                </c:pt>
                <c:pt idx="84">
                  <c:v>01.07.21</c:v>
                </c:pt>
                <c:pt idx="85">
                  <c:v>02.07.21</c:v>
                </c:pt>
                <c:pt idx="86">
                  <c:v>03.07.21</c:v>
                </c:pt>
                <c:pt idx="87">
                  <c:v>04.07.21</c:v>
                </c:pt>
                <c:pt idx="88">
                  <c:v>05.07.21</c:v>
                </c:pt>
                <c:pt idx="89">
                  <c:v>06.07.21</c:v>
                </c:pt>
                <c:pt idx="90">
                  <c:v>07.07.21</c:v>
                </c:pt>
                <c:pt idx="91">
                  <c:v>08.07.21</c:v>
                </c:pt>
                <c:pt idx="92">
                  <c:v>09.07.21</c:v>
                </c:pt>
                <c:pt idx="93">
                  <c:v>10.07.21</c:v>
                </c:pt>
                <c:pt idx="94">
                  <c:v>11.07.21</c:v>
                </c:pt>
                <c:pt idx="95">
                  <c:v>12.07.21</c:v>
                </c:pt>
                <c:pt idx="96">
                  <c:v>13.07.21</c:v>
                </c:pt>
                <c:pt idx="97">
                  <c:v>14.07.21</c:v>
                </c:pt>
                <c:pt idx="98">
                  <c:v>15.07.21</c:v>
                </c:pt>
                <c:pt idx="99">
                  <c:v>16.07.21</c:v>
                </c:pt>
                <c:pt idx="100">
                  <c:v>17.07.21</c:v>
                </c:pt>
                <c:pt idx="101">
                  <c:v>18.07.21</c:v>
                </c:pt>
                <c:pt idx="102">
                  <c:v>19.07.21</c:v>
                </c:pt>
                <c:pt idx="103">
                  <c:v>20.07.21</c:v>
                </c:pt>
                <c:pt idx="104">
                  <c:v>21.07.21</c:v>
                </c:pt>
                <c:pt idx="105">
                  <c:v>22.07.21</c:v>
                </c:pt>
                <c:pt idx="106">
                  <c:v>23.07.21</c:v>
                </c:pt>
                <c:pt idx="107">
                  <c:v>24.07.21</c:v>
                </c:pt>
                <c:pt idx="108">
                  <c:v>25.07.21</c:v>
                </c:pt>
                <c:pt idx="109">
                  <c:v>26.07.21</c:v>
                </c:pt>
                <c:pt idx="110">
                  <c:v>27.07.21</c:v>
                </c:pt>
                <c:pt idx="111">
                  <c:v>28.07.21</c:v>
                </c:pt>
                <c:pt idx="112">
                  <c:v>29.07.21</c:v>
                </c:pt>
                <c:pt idx="113">
                  <c:v>30.07.21</c:v>
                </c:pt>
                <c:pt idx="114">
                  <c:v>31.07.21</c:v>
                </c:pt>
                <c:pt idx="115">
                  <c:v>01.08.21</c:v>
                </c:pt>
                <c:pt idx="116">
                  <c:v>02.08.21</c:v>
                </c:pt>
                <c:pt idx="117">
                  <c:v>03.08.21</c:v>
                </c:pt>
                <c:pt idx="118">
                  <c:v>04.08.21</c:v>
                </c:pt>
                <c:pt idx="119">
                  <c:v>05.08.21</c:v>
                </c:pt>
                <c:pt idx="120">
                  <c:v>06.08.21</c:v>
                </c:pt>
                <c:pt idx="121">
                  <c:v>07.08.21</c:v>
                </c:pt>
                <c:pt idx="122">
                  <c:v>08.08.21</c:v>
                </c:pt>
                <c:pt idx="123">
                  <c:v>09.08.21</c:v>
                </c:pt>
                <c:pt idx="124">
                  <c:v>10.08.21</c:v>
                </c:pt>
                <c:pt idx="125">
                  <c:v>11.08.21</c:v>
                </c:pt>
                <c:pt idx="126">
                  <c:v>12.08.21</c:v>
                </c:pt>
                <c:pt idx="127">
                  <c:v>13.08.21</c:v>
                </c:pt>
                <c:pt idx="128">
                  <c:v>14.08.21</c:v>
                </c:pt>
                <c:pt idx="129">
                  <c:v>15.08.21</c:v>
                </c:pt>
                <c:pt idx="130">
                  <c:v>16.08.21</c:v>
                </c:pt>
                <c:pt idx="131">
                  <c:v>17.08.21</c:v>
                </c:pt>
                <c:pt idx="132">
                  <c:v>18.08.21</c:v>
                </c:pt>
                <c:pt idx="133">
                  <c:v>19.08.21</c:v>
                </c:pt>
                <c:pt idx="134">
                  <c:v>20.08.21</c:v>
                </c:pt>
                <c:pt idx="135">
                  <c:v>21.08.21</c:v>
                </c:pt>
                <c:pt idx="136">
                  <c:v>22.08.21</c:v>
                </c:pt>
                <c:pt idx="137">
                  <c:v>23.08.21</c:v>
                </c:pt>
                <c:pt idx="138">
                  <c:v>24.08.21</c:v>
                </c:pt>
                <c:pt idx="139">
                  <c:v>25.08.21</c:v>
                </c:pt>
                <c:pt idx="140">
                  <c:v>26.08.21</c:v>
                </c:pt>
                <c:pt idx="141">
                  <c:v>27.08.21</c:v>
                </c:pt>
                <c:pt idx="142">
                  <c:v>28.08.21</c:v>
                </c:pt>
                <c:pt idx="143">
                  <c:v>29.08.21</c:v>
                </c:pt>
                <c:pt idx="144">
                  <c:v>30.08.21</c:v>
                </c:pt>
                <c:pt idx="145">
                  <c:v>31.08.21</c:v>
                </c:pt>
                <c:pt idx="146">
                  <c:v>01.09.21</c:v>
                </c:pt>
                <c:pt idx="147">
                  <c:v>02.09.21</c:v>
                </c:pt>
                <c:pt idx="148">
                  <c:v>03.09.21</c:v>
                </c:pt>
                <c:pt idx="149">
                  <c:v>04.09.21</c:v>
                </c:pt>
                <c:pt idx="150">
                  <c:v>05.09.21</c:v>
                </c:pt>
                <c:pt idx="151">
                  <c:v>06.09.21</c:v>
                </c:pt>
                <c:pt idx="152">
                  <c:v>07.09.21</c:v>
                </c:pt>
                <c:pt idx="153">
                  <c:v>08.09.21</c:v>
                </c:pt>
                <c:pt idx="154">
                  <c:v>09.09.21</c:v>
                </c:pt>
                <c:pt idx="155">
                  <c:v>10.09.21</c:v>
                </c:pt>
                <c:pt idx="156">
                  <c:v>11.09.21</c:v>
                </c:pt>
                <c:pt idx="157">
                  <c:v>12.09.21</c:v>
                </c:pt>
                <c:pt idx="158">
                  <c:v>13.09.21</c:v>
                </c:pt>
                <c:pt idx="159">
                  <c:v>14.09.21</c:v>
                </c:pt>
                <c:pt idx="160">
                  <c:v>15.09.21</c:v>
                </c:pt>
                <c:pt idx="161">
                  <c:v>16.09.21</c:v>
                </c:pt>
                <c:pt idx="162">
                  <c:v>17.09.21</c:v>
                </c:pt>
                <c:pt idx="163">
                  <c:v>18.09.21</c:v>
                </c:pt>
                <c:pt idx="164">
                  <c:v>19.09.21</c:v>
                </c:pt>
                <c:pt idx="165">
                  <c:v>20.09.21</c:v>
                </c:pt>
                <c:pt idx="166">
                  <c:v>21.09.21</c:v>
                </c:pt>
                <c:pt idx="167">
                  <c:v>22.09.21</c:v>
                </c:pt>
                <c:pt idx="168">
                  <c:v>23.09.21</c:v>
                </c:pt>
                <c:pt idx="169">
                  <c:v>24.09.21</c:v>
                </c:pt>
                <c:pt idx="170">
                  <c:v>25.09.21</c:v>
                </c:pt>
                <c:pt idx="171">
                  <c:v>26.09.21</c:v>
                </c:pt>
                <c:pt idx="172">
                  <c:v>27.09.21</c:v>
                </c:pt>
                <c:pt idx="173">
                  <c:v>28.09.21</c:v>
                </c:pt>
                <c:pt idx="174">
                  <c:v>29.09.21</c:v>
                </c:pt>
                <c:pt idx="175">
                  <c:v>30.09.21</c:v>
                </c:pt>
                <c:pt idx="176">
                  <c:v>01.10.21</c:v>
                </c:pt>
                <c:pt idx="177">
                  <c:v>02.10.21</c:v>
                </c:pt>
                <c:pt idx="178">
                  <c:v>03.10.21</c:v>
                </c:pt>
                <c:pt idx="179">
                  <c:v>04.10.21</c:v>
                </c:pt>
                <c:pt idx="180">
                  <c:v>05.10.21</c:v>
                </c:pt>
                <c:pt idx="181">
                  <c:v>06.10.21</c:v>
                </c:pt>
                <c:pt idx="182">
                  <c:v>07.10.21</c:v>
                </c:pt>
              </c:strCache>
            </c:strRef>
          </c:cat>
          <c:val>
            <c:numRef>
              <c:f>List1!$B$2:$GB$2</c:f>
              <c:numCache>
                <c:formatCode>General</c:formatCode>
                <c:ptCount val="183"/>
                <c:pt idx="0">
                  <c:v>95</c:v>
                </c:pt>
                <c:pt idx="1">
                  <c:v>87</c:v>
                </c:pt>
                <c:pt idx="2">
                  <c:v>82</c:v>
                </c:pt>
                <c:pt idx="3">
                  <c:v>82</c:v>
                </c:pt>
                <c:pt idx="4">
                  <c:v>69</c:v>
                </c:pt>
                <c:pt idx="5">
                  <c:v>65</c:v>
                </c:pt>
                <c:pt idx="6">
                  <c:v>68</c:v>
                </c:pt>
                <c:pt idx="7">
                  <c:v>65</c:v>
                </c:pt>
                <c:pt idx="8">
                  <c:v>62</c:v>
                </c:pt>
                <c:pt idx="9">
                  <c:v>63</c:v>
                </c:pt>
                <c:pt idx="10">
                  <c:v>61</c:v>
                </c:pt>
                <c:pt idx="11">
                  <c:v>63</c:v>
                </c:pt>
                <c:pt idx="12">
                  <c:v>56</c:v>
                </c:pt>
                <c:pt idx="13">
                  <c:v>63</c:v>
                </c:pt>
                <c:pt idx="14">
                  <c:v>58</c:v>
                </c:pt>
                <c:pt idx="15">
                  <c:v>60</c:v>
                </c:pt>
                <c:pt idx="16">
                  <c:v>61</c:v>
                </c:pt>
                <c:pt idx="17">
                  <c:v>59</c:v>
                </c:pt>
                <c:pt idx="18">
                  <c:v>58</c:v>
                </c:pt>
                <c:pt idx="19">
                  <c:v>54</c:v>
                </c:pt>
                <c:pt idx="20">
                  <c:v>54</c:v>
                </c:pt>
                <c:pt idx="21">
                  <c:v>58</c:v>
                </c:pt>
                <c:pt idx="22">
                  <c:v>57</c:v>
                </c:pt>
                <c:pt idx="23">
                  <c:v>55</c:v>
                </c:pt>
                <c:pt idx="24">
                  <c:v>55</c:v>
                </c:pt>
                <c:pt idx="25">
                  <c:v>50</c:v>
                </c:pt>
                <c:pt idx="26">
                  <c:v>48</c:v>
                </c:pt>
                <c:pt idx="27">
                  <c:v>45</c:v>
                </c:pt>
                <c:pt idx="28">
                  <c:v>42</c:v>
                </c:pt>
                <c:pt idx="29">
                  <c:v>38</c:v>
                </c:pt>
                <c:pt idx="30">
                  <c:v>39</c:v>
                </c:pt>
                <c:pt idx="31">
                  <c:v>39</c:v>
                </c:pt>
                <c:pt idx="32">
                  <c:v>34</c:v>
                </c:pt>
                <c:pt idx="33">
                  <c:v>35</c:v>
                </c:pt>
                <c:pt idx="34">
                  <c:v>25</c:v>
                </c:pt>
                <c:pt idx="35">
                  <c:v>27</c:v>
                </c:pt>
                <c:pt idx="36">
                  <c:v>27</c:v>
                </c:pt>
                <c:pt idx="37">
                  <c:v>26</c:v>
                </c:pt>
                <c:pt idx="38">
                  <c:v>25</c:v>
                </c:pt>
                <c:pt idx="39">
                  <c:v>22</c:v>
                </c:pt>
                <c:pt idx="40">
                  <c:v>20</c:v>
                </c:pt>
                <c:pt idx="41">
                  <c:v>20</c:v>
                </c:pt>
                <c:pt idx="42">
                  <c:v>21</c:v>
                </c:pt>
                <c:pt idx="43">
                  <c:v>21</c:v>
                </c:pt>
                <c:pt idx="44">
                  <c:v>22</c:v>
                </c:pt>
                <c:pt idx="45">
                  <c:v>22</c:v>
                </c:pt>
                <c:pt idx="46">
                  <c:v>21</c:v>
                </c:pt>
                <c:pt idx="47">
                  <c:v>20</c:v>
                </c:pt>
                <c:pt idx="48">
                  <c:v>21</c:v>
                </c:pt>
                <c:pt idx="49">
                  <c:v>19</c:v>
                </c:pt>
                <c:pt idx="50">
                  <c:v>18</c:v>
                </c:pt>
                <c:pt idx="51">
                  <c:v>17</c:v>
                </c:pt>
                <c:pt idx="52">
                  <c:v>18</c:v>
                </c:pt>
                <c:pt idx="53">
                  <c:v>16</c:v>
                </c:pt>
                <c:pt idx="54">
                  <c:v>16</c:v>
                </c:pt>
                <c:pt idx="55">
                  <c:v>14</c:v>
                </c:pt>
                <c:pt idx="56">
                  <c:v>13</c:v>
                </c:pt>
                <c:pt idx="57">
                  <c:v>11</c:v>
                </c:pt>
                <c:pt idx="58">
                  <c:v>10</c:v>
                </c:pt>
                <c:pt idx="59">
                  <c:v>10</c:v>
                </c:pt>
                <c:pt idx="60">
                  <c:v>9</c:v>
                </c:pt>
                <c:pt idx="61">
                  <c:v>8</c:v>
                </c:pt>
                <c:pt idx="62">
                  <c:v>6</c:v>
                </c:pt>
                <c:pt idx="63">
                  <c:v>3</c:v>
                </c:pt>
                <c:pt idx="64">
                  <c:v>3</c:v>
                </c:pt>
                <c:pt idx="65">
                  <c:v>2</c:v>
                </c:pt>
                <c:pt idx="66">
                  <c:v>-1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1</c:v>
                </c:pt>
                <c:pt idx="72">
                  <c:v>1</c:v>
                </c:pt>
                <c:pt idx="73">
                  <c:v>1</c:v>
                </c:pt>
                <c:pt idx="74">
                  <c:v>1</c:v>
                </c:pt>
                <c:pt idx="75">
                  <c:v>1</c:v>
                </c:pt>
                <c:pt idx="76">
                  <c:v>1</c:v>
                </c:pt>
                <c:pt idx="77">
                  <c:v>1</c:v>
                </c:pt>
                <c:pt idx="78">
                  <c:v>1</c:v>
                </c:pt>
                <c:pt idx="79">
                  <c:v>1</c:v>
                </c:pt>
                <c:pt idx="80">
                  <c:v>1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1</c:v>
                </c:pt>
                <c:pt idx="85">
                  <c:v>1</c:v>
                </c:pt>
                <c:pt idx="86">
                  <c:v>1</c:v>
                </c:pt>
                <c:pt idx="87">
                  <c:v>2</c:v>
                </c:pt>
                <c:pt idx="88">
                  <c:v>2</c:v>
                </c:pt>
                <c:pt idx="89">
                  <c:v>2</c:v>
                </c:pt>
                <c:pt idx="90">
                  <c:v>2</c:v>
                </c:pt>
                <c:pt idx="91">
                  <c:v>2</c:v>
                </c:pt>
                <c:pt idx="92">
                  <c:v>4</c:v>
                </c:pt>
                <c:pt idx="93">
                  <c:v>4</c:v>
                </c:pt>
                <c:pt idx="94">
                  <c:v>4</c:v>
                </c:pt>
                <c:pt idx="95">
                  <c:v>6</c:v>
                </c:pt>
                <c:pt idx="96">
                  <c:v>7</c:v>
                </c:pt>
                <c:pt idx="97">
                  <c:v>6</c:v>
                </c:pt>
                <c:pt idx="98">
                  <c:v>6</c:v>
                </c:pt>
                <c:pt idx="99">
                  <c:v>8</c:v>
                </c:pt>
                <c:pt idx="100">
                  <c:v>10</c:v>
                </c:pt>
                <c:pt idx="101">
                  <c:v>10</c:v>
                </c:pt>
                <c:pt idx="102">
                  <c:v>12</c:v>
                </c:pt>
                <c:pt idx="103">
                  <c:v>14</c:v>
                </c:pt>
                <c:pt idx="104">
                  <c:v>16</c:v>
                </c:pt>
                <c:pt idx="105">
                  <c:v>19</c:v>
                </c:pt>
                <c:pt idx="106">
                  <c:v>18</c:v>
                </c:pt>
                <c:pt idx="107">
                  <c:v>18</c:v>
                </c:pt>
                <c:pt idx="108">
                  <c:v>19</c:v>
                </c:pt>
                <c:pt idx="109">
                  <c:v>19</c:v>
                </c:pt>
                <c:pt idx="110">
                  <c:v>20</c:v>
                </c:pt>
                <c:pt idx="111">
                  <c:v>21</c:v>
                </c:pt>
                <c:pt idx="112">
                  <c:v>22</c:v>
                </c:pt>
                <c:pt idx="113">
                  <c:v>21</c:v>
                </c:pt>
                <c:pt idx="114">
                  <c:v>20</c:v>
                </c:pt>
                <c:pt idx="115">
                  <c:v>19</c:v>
                </c:pt>
                <c:pt idx="116">
                  <c:v>17</c:v>
                </c:pt>
                <c:pt idx="117">
                  <c:v>15</c:v>
                </c:pt>
                <c:pt idx="118">
                  <c:v>18</c:v>
                </c:pt>
                <c:pt idx="119">
                  <c:v>16</c:v>
                </c:pt>
                <c:pt idx="120">
                  <c:v>18</c:v>
                </c:pt>
                <c:pt idx="121">
                  <c:v>15</c:v>
                </c:pt>
                <c:pt idx="122">
                  <c:v>17</c:v>
                </c:pt>
                <c:pt idx="123">
                  <c:v>17</c:v>
                </c:pt>
                <c:pt idx="124">
                  <c:v>17</c:v>
                </c:pt>
                <c:pt idx="125">
                  <c:v>17</c:v>
                </c:pt>
                <c:pt idx="126">
                  <c:v>18</c:v>
                </c:pt>
                <c:pt idx="127">
                  <c:v>18</c:v>
                </c:pt>
                <c:pt idx="128">
                  <c:v>18</c:v>
                </c:pt>
                <c:pt idx="129">
                  <c:v>18</c:v>
                </c:pt>
                <c:pt idx="130">
                  <c:v>21</c:v>
                </c:pt>
                <c:pt idx="131">
                  <c:v>18</c:v>
                </c:pt>
                <c:pt idx="132">
                  <c:v>15</c:v>
                </c:pt>
                <c:pt idx="133">
                  <c:v>15</c:v>
                </c:pt>
                <c:pt idx="134">
                  <c:v>14</c:v>
                </c:pt>
                <c:pt idx="135">
                  <c:v>13</c:v>
                </c:pt>
                <c:pt idx="136">
                  <c:v>11</c:v>
                </c:pt>
                <c:pt idx="137">
                  <c:v>12</c:v>
                </c:pt>
                <c:pt idx="138">
                  <c:v>11</c:v>
                </c:pt>
                <c:pt idx="139">
                  <c:v>9</c:v>
                </c:pt>
                <c:pt idx="140">
                  <c:v>10</c:v>
                </c:pt>
                <c:pt idx="141">
                  <c:v>10</c:v>
                </c:pt>
                <c:pt idx="142">
                  <c:v>11</c:v>
                </c:pt>
                <c:pt idx="143">
                  <c:v>10</c:v>
                </c:pt>
                <c:pt idx="144">
                  <c:v>8</c:v>
                </c:pt>
                <c:pt idx="145">
                  <c:v>12</c:v>
                </c:pt>
                <c:pt idx="146">
                  <c:v>15</c:v>
                </c:pt>
                <c:pt idx="147">
                  <c:v>16</c:v>
                </c:pt>
                <c:pt idx="148">
                  <c:v>16</c:v>
                </c:pt>
                <c:pt idx="149">
                  <c:v>19</c:v>
                </c:pt>
                <c:pt idx="150">
                  <c:v>20</c:v>
                </c:pt>
                <c:pt idx="151">
                  <c:v>18</c:v>
                </c:pt>
                <c:pt idx="152">
                  <c:v>19</c:v>
                </c:pt>
                <c:pt idx="153">
                  <c:v>18</c:v>
                </c:pt>
                <c:pt idx="154">
                  <c:v>18</c:v>
                </c:pt>
                <c:pt idx="155">
                  <c:v>19</c:v>
                </c:pt>
                <c:pt idx="156">
                  <c:v>22</c:v>
                </c:pt>
                <c:pt idx="157">
                  <c:v>21</c:v>
                </c:pt>
                <c:pt idx="158">
                  <c:v>22</c:v>
                </c:pt>
                <c:pt idx="159">
                  <c:v>21</c:v>
                </c:pt>
                <c:pt idx="160">
                  <c:v>18</c:v>
                </c:pt>
                <c:pt idx="161">
                  <c:v>19</c:v>
                </c:pt>
                <c:pt idx="162">
                  <c:v>19</c:v>
                </c:pt>
                <c:pt idx="163">
                  <c:v>18</c:v>
                </c:pt>
                <c:pt idx="164">
                  <c:v>18</c:v>
                </c:pt>
                <c:pt idx="165">
                  <c:v>16</c:v>
                </c:pt>
                <c:pt idx="166">
                  <c:v>19</c:v>
                </c:pt>
                <c:pt idx="167">
                  <c:v>22</c:v>
                </c:pt>
                <c:pt idx="168">
                  <c:v>22</c:v>
                </c:pt>
                <c:pt idx="169">
                  <c:v>23</c:v>
                </c:pt>
                <c:pt idx="170">
                  <c:v>22</c:v>
                </c:pt>
                <c:pt idx="171">
                  <c:v>23</c:v>
                </c:pt>
                <c:pt idx="172">
                  <c:v>25</c:v>
                </c:pt>
                <c:pt idx="173">
                  <c:v>29</c:v>
                </c:pt>
                <c:pt idx="174">
                  <c:v>32</c:v>
                </c:pt>
                <c:pt idx="175">
                  <c:v>40</c:v>
                </c:pt>
                <c:pt idx="176">
                  <c:v>40</c:v>
                </c:pt>
                <c:pt idx="177">
                  <c:v>44</c:v>
                </c:pt>
                <c:pt idx="178">
                  <c:v>44</c:v>
                </c:pt>
                <c:pt idx="179">
                  <c:v>43</c:v>
                </c:pt>
                <c:pt idx="180">
                  <c:v>45</c:v>
                </c:pt>
                <c:pt idx="181">
                  <c:v>49</c:v>
                </c:pt>
                <c:pt idx="182">
                  <c:v>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7CD-4BA3-857E-B86804E5EE02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Sesterská povolání</c:v>
                </c:pt>
              </c:strCache>
            </c:strRef>
          </c:tx>
          <c:spPr>
            <a:ln w="28575" cap="rnd">
              <a:solidFill>
                <a:srgbClr val="ED7D31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-7.1016422547714158E-3"/>
                  <c:y val="-5.1288031272171151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rgbClr val="ED7D31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197070572569906"/>
                      <c:h val="4.732494990964000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37CD-4BA3-857E-B86804E5EE0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l">
                  <a:defRPr sz="1200" b="0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List1!$B$1:$GB$1</c:f>
              <c:strCache>
                <c:ptCount val="183"/>
                <c:pt idx="0">
                  <c:v>08.04.21</c:v>
                </c:pt>
                <c:pt idx="1">
                  <c:v>09.04.21</c:v>
                </c:pt>
                <c:pt idx="2">
                  <c:v>10.04.21</c:v>
                </c:pt>
                <c:pt idx="3">
                  <c:v>11.04.21</c:v>
                </c:pt>
                <c:pt idx="4">
                  <c:v>12.04.21</c:v>
                </c:pt>
                <c:pt idx="5">
                  <c:v>13.04.21</c:v>
                </c:pt>
                <c:pt idx="6">
                  <c:v>14.04.21</c:v>
                </c:pt>
                <c:pt idx="7">
                  <c:v>15.04.21</c:v>
                </c:pt>
                <c:pt idx="8">
                  <c:v>16.04.21</c:v>
                </c:pt>
                <c:pt idx="9">
                  <c:v>17.04.21</c:v>
                </c:pt>
                <c:pt idx="10">
                  <c:v>18.04.21</c:v>
                </c:pt>
                <c:pt idx="11">
                  <c:v>19.04.21</c:v>
                </c:pt>
                <c:pt idx="12">
                  <c:v>20.04.21</c:v>
                </c:pt>
                <c:pt idx="13">
                  <c:v>21.04.21</c:v>
                </c:pt>
                <c:pt idx="14">
                  <c:v>22.04.21</c:v>
                </c:pt>
                <c:pt idx="15">
                  <c:v>23.04.21</c:v>
                </c:pt>
                <c:pt idx="16">
                  <c:v>24.04.21</c:v>
                </c:pt>
                <c:pt idx="17">
                  <c:v>25.04.21</c:v>
                </c:pt>
                <c:pt idx="18">
                  <c:v>26.04.21</c:v>
                </c:pt>
                <c:pt idx="19">
                  <c:v>27.04.21</c:v>
                </c:pt>
                <c:pt idx="20">
                  <c:v>28.04.21</c:v>
                </c:pt>
                <c:pt idx="21">
                  <c:v>29.04.21</c:v>
                </c:pt>
                <c:pt idx="22">
                  <c:v>30.04.21</c:v>
                </c:pt>
                <c:pt idx="23">
                  <c:v>01.05.21</c:v>
                </c:pt>
                <c:pt idx="24">
                  <c:v>02.05.21</c:v>
                </c:pt>
                <c:pt idx="25">
                  <c:v>03.05.21</c:v>
                </c:pt>
                <c:pt idx="26">
                  <c:v>04.05.21</c:v>
                </c:pt>
                <c:pt idx="27">
                  <c:v>05.05.21</c:v>
                </c:pt>
                <c:pt idx="28">
                  <c:v>06.05.21</c:v>
                </c:pt>
                <c:pt idx="29">
                  <c:v>07.05.21</c:v>
                </c:pt>
                <c:pt idx="30">
                  <c:v>08.05.21</c:v>
                </c:pt>
                <c:pt idx="31">
                  <c:v>09.05.21</c:v>
                </c:pt>
                <c:pt idx="32">
                  <c:v>10.05.21</c:v>
                </c:pt>
                <c:pt idx="33">
                  <c:v>11.05.21</c:v>
                </c:pt>
                <c:pt idx="34">
                  <c:v>12.05.21</c:v>
                </c:pt>
                <c:pt idx="35">
                  <c:v>13.05.21</c:v>
                </c:pt>
                <c:pt idx="36">
                  <c:v>14.05.21</c:v>
                </c:pt>
                <c:pt idx="37">
                  <c:v>15.05.21</c:v>
                </c:pt>
                <c:pt idx="38">
                  <c:v>16.05.21</c:v>
                </c:pt>
                <c:pt idx="39">
                  <c:v>17.05.21</c:v>
                </c:pt>
                <c:pt idx="40">
                  <c:v>18.05.21</c:v>
                </c:pt>
                <c:pt idx="41">
                  <c:v>19.05.21</c:v>
                </c:pt>
                <c:pt idx="42">
                  <c:v>20.05.21</c:v>
                </c:pt>
                <c:pt idx="43">
                  <c:v>21.05.21</c:v>
                </c:pt>
                <c:pt idx="44">
                  <c:v>22.05.21</c:v>
                </c:pt>
                <c:pt idx="45">
                  <c:v>23.05.21</c:v>
                </c:pt>
                <c:pt idx="46">
                  <c:v>24.05.21</c:v>
                </c:pt>
                <c:pt idx="47">
                  <c:v>25.05.21</c:v>
                </c:pt>
                <c:pt idx="48">
                  <c:v>26.05.21</c:v>
                </c:pt>
                <c:pt idx="49">
                  <c:v>27.05.21</c:v>
                </c:pt>
                <c:pt idx="50">
                  <c:v>28.05.21</c:v>
                </c:pt>
                <c:pt idx="51">
                  <c:v>29.05.21</c:v>
                </c:pt>
                <c:pt idx="52">
                  <c:v>30.05.21</c:v>
                </c:pt>
                <c:pt idx="53">
                  <c:v>31.05.21</c:v>
                </c:pt>
                <c:pt idx="54">
                  <c:v>01.06.21</c:v>
                </c:pt>
                <c:pt idx="55">
                  <c:v>02.06.21</c:v>
                </c:pt>
                <c:pt idx="56">
                  <c:v>03.06.21</c:v>
                </c:pt>
                <c:pt idx="57">
                  <c:v>04.06.21</c:v>
                </c:pt>
                <c:pt idx="58">
                  <c:v>05.06.21</c:v>
                </c:pt>
                <c:pt idx="59">
                  <c:v>06.06.21</c:v>
                </c:pt>
                <c:pt idx="60">
                  <c:v>07.06.21</c:v>
                </c:pt>
                <c:pt idx="61">
                  <c:v>08.06.21</c:v>
                </c:pt>
                <c:pt idx="62">
                  <c:v>09.06.21</c:v>
                </c:pt>
                <c:pt idx="63">
                  <c:v>10.06.21</c:v>
                </c:pt>
                <c:pt idx="64">
                  <c:v>11.06.21</c:v>
                </c:pt>
                <c:pt idx="65">
                  <c:v>12.06.21</c:v>
                </c:pt>
                <c:pt idx="66">
                  <c:v>13.06.21</c:v>
                </c:pt>
                <c:pt idx="67">
                  <c:v>14.06.21</c:v>
                </c:pt>
                <c:pt idx="68">
                  <c:v>15.06.21</c:v>
                </c:pt>
                <c:pt idx="69">
                  <c:v>16.06.21</c:v>
                </c:pt>
                <c:pt idx="70">
                  <c:v>17.06.21</c:v>
                </c:pt>
                <c:pt idx="71">
                  <c:v>18.06.21</c:v>
                </c:pt>
                <c:pt idx="72">
                  <c:v>19.06.21</c:v>
                </c:pt>
                <c:pt idx="73">
                  <c:v>20.06.21</c:v>
                </c:pt>
                <c:pt idx="74">
                  <c:v>21.06.21</c:v>
                </c:pt>
                <c:pt idx="75">
                  <c:v>22.06.21</c:v>
                </c:pt>
                <c:pt idx="76">
                  <c:v>23.06.21</c:v>
                </c:pt>
                <c:pt idx="77">
                  <c:v>24.06.21</c:v>
                </c:pt>
                <c:pt idx="78">
                  <c:v>25.06.21</c:v>
                </c:pt>
                <c:pt idx="79">
                  <c:v>26.06.21</c:v>
                </c:pt>
                <c:pt idx="80">
                  <c:v>27.06.21</c:v>
                </c:pt>
                <c:pt idx="81">
                  <c:v>28.06.21</c:v>
                </c:pt>
                <c:pt idx="82">
                  <c:v>29.06.21</c:v>
                </c:pt>
                <c:pt idx="83">
                  <c:v>30.06.21</c:v>
                </c:pt>
                <c:pt idx="84">
                  <c:v>01.07.21</c:v>
                </c:pt>
                <c:pt idx="85">
                  <c:v>02.07.21</c:v>
                </c:pt>
                <c:pt idx="86">
                  <c:v>03.07.21</c:v>
                </c:pt>
                <c:pt idx="87">
                  <c:v>04.07.21</c:v>
                </c:pt>
                <c:pt idx="88">
                  <c:v>05.07.21</c:v>
                </c:pt>
                <c:pt idx="89">
                  <c:v>06.07.21</c:v>
                </c:pt>
                <c:pt idx="90">
                  <c:v>07.07.21</c:v>
                </c:pt>
                <c:pt idx="91">
                  <c:v>08.07.21</c:v>
                </c:pt>
                <c:pt idx="92">
                  <c:v>09.07.21</c:v>
                </c:pt>
                <c:pt idx="93">
                  <c:v>10.07.21</c:v>
                </c:pt>
                <c:pt idx="94">
                  <c:v>11.07.21</c:v>
                </c:pt>
                <c:pt idx="95">
                  <c:v>12.07.21</c:v>
                </c:pt>
                <c:pt idx="96">
                  <c:v>13.07.21</c:v>
                </c:pt>
                <c:pt idx="97">
                  <c:v>14.07.21</c:v>
                </c:pt>
                <c:pt idx="98">
                  <c:v>15.07.21</c:v>
                </c:pt>
                <c:pt idx="99">
                  <c:v>16.07.21</c:v>
                </c:pt>
                <c:pt idx="100">
                  <c:v>17.07.21</c:v>
                </c:pt>
                <c:pt idx="101">
                  <c:v>18.07.21</c:v>
                </c:pt>
                <c:pt idx="102">
                  <c:v>19.07.21</c:v>
                </c:pt>
                <c:pt idx="103">
                  <c:v>20.07.21</c:v>
                </c:pt>
                <c:pt idx="104">
                  <c:v>21.07.21</c:v>
                </c:pt>
                <c:pt idx="105">
                  <c:v>22.07.21</c:v>
                </c:pt>
                <c:pt idx="106">
                  <c:v>23.07.21</c:v>
                </c:pt>
                <c:pt idx="107">
                  <c:v>24.07.21</c:v>
                </c:pt>
                <c:pt idx="108">
                  <c:v>25.07.21</c:v>
                </c:pt>
                <c:pt idx="109">
                  <c:v>26.07.21</c:v>
                </c:pt>
                <c:pt idx="110">
                  <c:v>27.07.21</c:v>
                </c:pt>
                <c:pt idx="111">
                  <c:v>28.07.21</c:v>
                </c:pt>
                <c:pt idx="112">
                  <c:v>29.07.21</c:v>
                </c:pt>
                <c:pt idx="113">
                  <c:v>30.07.21</c:v>
                </c:pt>
                <c:pt idx="114">
                  <c:v>31.07.21</c:v>
                </c:pt>
                <c:pt idx="115">
                  <c:v>01.08.21</c:v>
                </c:pt>
                <c:pt idx="116">
                  <c:v>02.08.21</c:v>
                </c:pt>
                <c:pt idx="117">
                  <c:v>03.08.21</c:v>
                </c:pt>
                <c:pt idx="118">
                  <c:v>04.08.21</c:v>
                </c:pt>
                <c:pt idx="119">
                  <c:v>05.08.21</c:v>
                </c:pt>
                <c:pt idx="120">
                  <c:v>06.08.21</c:v>
                </c:pt>
                <c:pt idx="121">
                  <c:v>07.08.21</c:v>
                </c:pt>
                <c:pt idx="122">
                  <c:v>08.08.21</c:v>
                </c:pt>
                <c:pt idx="123">
                  <c:v>09.08.21</c:v>
                </c:pt>
                <c:pt idx="124">
                  <c:v>10.08.21</c:v>
                </c:pt>
                <c:pt idx="125">
                  <c:v>11.08.21</c:v>
                </c:pt>
                <c:pt idx="126">
                  <c:v>12.08.21</c:v>
                </c:pt>
                <c:pt idx="127">
                  <c:v>13.08.21</c:v>
                </c:pt>
                <c:pt idx="128">
                  <c:v>14.08.21</c:v>
                </c:pt>
                <c:pt idx="129">
                  <c:v>15.08.21</c:v>
                </c:pt>
                <c:pt idx="130">
                  <c:v>16.08.21</c:v>
                </c:pt>
                <c:pt idx="131">
                  <c:v>17.08.21</c:v>
                </c:pt>
                <c:pt idx="132">
                  <c:v>18.08.21</c:v>
                </c:pt>
                <c:pt idx="133">
                  <c:v>19.08.21</c:v>
                </c:pt>
                <c:pt idx="134">
                  <c:v>20.08.21</c:v>
                </c:pt>
                <c:pt idx="135">
                  <c:v>21.08.21</c:v>
                </c:pt>
                <c:pt idx="136">
                  <c:v>22.08.21</c:v>
                </c:pt>
                <c:pt idx="137">
                  <c:v>23.08.21</c:v>
                </c:pt>
                <c:pt idx="138">
                  <c:v>24.08.21</c:v>
                </c:pt>
                <c:pt idx="139">
                  <c:v>25.08.21</c:v>
                </c:pt>
                <c:pt idx="140">
                  <c:v>26.08.21</c:v>
                </c:pt>
                <c:pt idx="141">
                  <c:v>27.08.21</c:v>
                </c:pt>
                <c:pt idx="142">
                  <c:v>28.08.21</c:v>
                </c:pt>
                <c:pt idx="143">
                  <c:v>29.08.21</c:v>
                </c:pt>
                <c:pt idx="144">
                  <c:v>30.08.21</c:v>
                </c:pt>
                <c:pt idx="145">
                  <c:v>31.08.21</c:v>
                </c:pt>
                <c:pt idx="146">
                  <c:v>01.09.21</c:v>
                </c:pt>
                <c:pt idx="147">
                  <c:v>02.09.21</c:v>
                </c:pt>
                <c:pt idx="148">
                  <c:v>03.09.21</c:v>
                </c:pt>
                <c:pt idx="149">
                  <c:v>04.09.21</c:v>
                </c:pt>
                <c:pt idx="150">
                  <c:v>05.09.21</c:v>
                </c:pt>
                <c:pt idx="151">
                  <c:v>06.09.21</c:v>
                </c:pt>
                <c:pt idx="152">
                  <c:v>07.09.21</c:v>
                </c:pt>
                <c:pt idx="153">
                  <c:v>08.09.21</c:v>
                </c:pt>
                <c:pt idx="154">
                  <c:v>09.09.21</c:v>
                </c:pt>
                <c:pt idx="155">
                  <c:v>10.09.21</c:v>
                </c:pt>
                <c:pt idx="156">
                  <c:v>11.09.21</c:v>
                </c:pt>
                <c:pt idx="157">
                  <c:v>12.09.21</c:v>
                </c:pt>
                <c:pt idx="158">
                  <c:v>13.09.21</c:v>
                </c:pt>
                <c:pt idx="159">
                  <c:v>14.09.21</c:v>
                </c:pt>
                <c:pt idx="160">
                  <c:v>15.09.21</c:v>
                </c:pt>
                <c:pt idx="161">
                  <c:v>16.09.21</c:v>
                </c:pt>
                <c:pt idx="162">
                  <c:v>17.09.21</c:v>
                </c:pt>
                <c:pt idx="163">
                  <c:v>18.09.21</c:v>
                </c:pt>
                <c:pt idx="164">
                  <c:v>19.09.21</c:v>
                </c:pt>
                <c:pt idx="165">
                  <c:v>20.09.21</c:v>
                </c:pt>
                <c:pt idx="166">
                  <c:v>21.09.21</c:v>
                </c:pt>
                <c:pt idx="167">
                  <c:v>22.09.21</c:v>
                </c:pt>
                <c:pt idx="168">
                  <c:v>23.09.21</c:v>
                </c:pt>
                <c:pt idx="169">
                  <c:v>24.09.21</c:v>
                </c:pt>
                <c:pt idx="170">
                  <c:v>25.09.21</c:v>
                </c:pt>
                <c:pt idx="171">
                  <c:v>26.09.21</c:v>
                </c:pt>
                <c:pt idx="172">
                  <c:v>27.09.21</c:v>
                </c:pt>
                <c:pt idx="173">
                  <c:v>28.09.21</c:v>
                </c:pt>
                <c:pt idx="174">
                  <c:v>29.09.21</c:v>
                </c:pt>
                <c:pt idx="175">
                  <c:v>30.09.21</c:v>
                </c:pt>
                <c:pt idx="176">
                  <c:v>01.10.21</c:v>
                </c:pt>
                <c:pt idx="177">
                  <c:v>02.10.21</c:v>
                </c:pt>
                <c:pt idx="178">
                  <c:v>03.10.21</c:v>
                </c:pt>
                <c:pt idx="179">
                  <c:v>04.10.21</c:v>
                </c:pt>
                <c:pt idx="180">
                  <c:v>05.10.21</c:v>
                </c:pt>
                <c:pt idx="181">
                  <c:v>06.10.21</c:v>
                </c:pt>
                <c:pt idx="182">
                  <c:v>07.10.21</c:v>
                </c:pt>
              </c:strCache>
            </c:strRef>
          </c:cat>
          <c:val>
            <c:numRef>
              <c:f>List1!$B$3:$GB$3</c:f>
              <c:numCache>
                <c:formatCode>General</c:formatCode>
                <c:ptCount val="183"/>
                <c:pt idx="0">
                  <c:v>542</c:v>
                </c:pt>
                <c:pt idx="1">
                  <c:v>516</c:v>
                </c:pt>
                <c:pt idx="2">
                  <c:v>507</c:v>
                </c:pt>
                <c:pt idx="3">
                  <c:v>495</c:v>
                </c:pt>
                <c:pt idx="4">
                  <c:v>446</c:v>
                </c:pt>
                <c:pt idx="5">
                  <c:v>429</c:v>
                </c:pt>
                <c:pt idx="6">
                  <c:v>418</c:v>
                </c:pt>
                <c:pt idx="7">
                  <c:v>388</c:v>
                </c:pt>
                <c:pt idx="8">
                  <c:v>396</c:v>
                </c:pt>
                <c:pt idx="9">
                  <c:v>373</c:v>
                </c:pt>
                <c:pt idx="10">
                  <c:v>357</c:v>
                </c:pt>
                <c:pt idx="11">
                  <c:v>360</c:v>
                </c:pt>
                <c:pt idx="12">
                  <c:v>315</c:v>
                </c:pt>
                <c:pt idx="13">
                  <c:v>296</c:v>
                </c:pt>
                <c:pt idx="14">
                  <c:v>271</c:v>
                </c:pt>
                <c:pt idx="15">
                  <c:v>261</c:v>
                </c:pt>
                <c:pt idx="16">
                  <c:v>253</c:v>
                </c:pt>
                <c:pt idx="17">
                  <c:v>249</c:v>
                </c:pt>
                <c:pt idx="18">
                  <c:v>228</c:v>
                </c:pt>
                <c:pt idx="19">
                  <c:v>213</c:v>
                </c:pt>
                <c:pt idx="20">
                  <c:v>193</c:v>
                </c:pt>
                <c:pt idx="21">
                  <c:v>189</c:v>
                </c:pt>
                <c:pt idx="22">
                  <c:v>184</c:v>
                </c:pt>
                <c:pt idx="23">
                  <c:v>181</c:v>
                </c:pt>
                <c:pt idx="24">
                  <c:v>180</c:v>
                </c:pt>
                <c:pt idx="25">
                  <c:v>169</c:v>
                </c:pt>
                <c:pt idx="26">
                  <c:v>154</c:v>
                </c:pt>
                <c:pt idx="27">
                  <c:v>147</c:v>
                </c:pt>
                <c:pt idx="28">
                  <c:v>137</c:v>
                </c:pt>
                <c:pt idx="29">
                  <c:v>139</c:v>
                </c:pt>
                <c:pt idx="30">
                  <c:v>137</c:v>
                </c:pt>
                <c:pt idx="31">
                  <c:v>136</c:v>
                </c:pt>
                <c:pt idx="32">
                  <c:v>133</c:v>
                </c:pt>
                <c:pt idx="33">
                  <c:v>141</c:v>
                </c:pt>
                <c:pt idx="34">
                  <c:v>140</c:v>
                </c:pt>
                <c:pt idx="35">
                  <c:v>133</c:v>
                </c:pt>
                <c:pt idx="36">
                  <c:v>125</c:v>
                </c:pt>
                <c:pt idx="37">
                  <c:v>120</c:v>
                </c:pt>
                <c:pt idx="38">
                  <c:v>118</c:v>
                </c:pt>
                <c:pt idx="39">
                  <c:v>106</c:v>
                </c:pt>
                <c:pt idx="40">
                  <c:v>99</c:v>
                </c:pt>
                <c:pt idx="41">
                  <c:v>90</c:v>
                </c:pt>
                <c:pt idx="42">
                  <c:v>89</c:v>
                </c:pt>
                <c:pt idx="43">
                  <c:v>78</c:v>
                </c:pt>
                <c:pt idx="44">
                  <c:v>76</c:v>
                </c:pt>
                <c:pt idx="45">
                  <c:v>75</c:v>
                </c:pt>
                <c:pt idx="46">
                  <c:v>60</c:v>
                </c:pt>
                <c:pt idx="47">
                  <c:v>54</c:v>
                </c:pt>
                <c:pt idx="48">
                  <c:v>52</c:v>
                </c:pt>
                <c:pt idx="49">
                  <c:v>43</c:v>
                </c:pt>
                <c:pt idx="50">
                  <c:v>41</c:v>
                </c:pt>
                <c:pt idx="51">
                  <c:v>38</c:v>
                </c:pt>
                <c:pt idx="52">
                  <c:v>37</c:v>
                </c:pt>
                <c:pt idx="53">
                  <c:v>33</c:v>
                </c:pt>
                <c:pt idx="54">
                  <c:v>33</c:v>
                </c:pt>
                <c:pt idx="55">
                  <c:v>29</c:v>
                </c:pt>
                <c:pt idx="56">
                  <c:v>31</c:v>
                </c:pt>
                <c:pt idx="57">
                  <c:v>28</c:v>
                </c:pt>
                <c:pt idx="58">
                  <c:v>27</c:v>
                </c:pt>
                <c:pt idx="59">
                  <c:v>28</c:v>
                </c:pt>
                <c:pt idx="60">
                  <c:v>25</c:v>
                </c:pt>
                <c:pt idx="61">
                  <c:v>22</c:v>
                </c:pt>
                <c:pt idx="62">
                  <c:v>19</c:v>
                </c:pt>
                <c:pt idx="63">
                  <c:v>19</c:v>
                </c:pt>
                <c:pt idx="64">
                  <c:v>16</c:v>
                </c:pt>
                <c:pt idx="65">
                  <c:v>17</c:v>
                </c:pt>
                <c:pt idx="66">
                  <c:v>19</c:v>
                </c:pt>
                <c:pt idx="67">
                  <c:v>17</c:v>
                </c:pt>
                <c:pt idx="68">
                  <c:v>15</c:v>
                </c:pt>
                <c:pt idx="69">
                  <c:v>15</c:v>
                </c:pt>
                <c:pt idx="70">
                  <c:v>14</c:v>
                </c:pt>
                <c:pt idx="71">
                  <c:v>15</c:v>
                </c:pt>
                <c:pt idx="72">
                  <c:v>16</c:v>
                </c:pt>
                <c:pt idx="73">
                  <c:v>16</c:v>
                </c:pt>
                <c:pt idx="74">
                  <c:v>15</c:v>
                </c:pt>
                <c:pt idx="75">
                  <c:v>13</c:v>
                </c:pt>
                <c:pt idx="76">
                  <c:v>13</c:v>
                </c:pt>
                <c:pt idx="77">
                  <c:v>13</c:v>
                </c:pt>
                <c:pt idx="78">
                  <c:v>12</c:v>
                </c:pt>
                <c:pt idx="79">
                  <c:v>12</c:v>
                </c:pt>
                <c:pt idx="80">
                  <c:v>10</c:v>
                </c:pt>
                <c:pt idx="81">
                  <c:v>11</c:v>
                </c:pt>
                <c:pt idx="82">
                  <c:v>13</c:v>
                </c:pt>
                <c:pt idx="83">
                  <c:v>12</c:v>
                </c:pt>
                <c:pt idx="84">
                  <c:v>11</c:v>
                </c:pt>
                <c:pt idx="85">
                  <c:v>11</c:v>
                </c:pt>
                <c:pt idx="86">
                  <c:v>11</c:v>
                </c:pt>
                <c:pt idx="87">
                  <c:v>12</c:v>
                </c:pt>
                <c:pt idx="88">
                  <c:v>16</c:v>
                </c:pt>
                <c:pt idx="89">
                  <c:v>16</c:v>
                </c:pt>
                <c:pt idx="90">
                  <c:v>16</c:v>
                </c:pt>
                <c:pt idx="91">
                  <c:v>15</c:v>
                </c:pt>
                <c:pt idx="92">
                  <c:v>15</c:v>
                </c:pt>
                <c:pt idx="93">
                  <c:v>15</c:v>
                </c:pt>
                <c:pt idx="94">
                  <c:v>14</c:v>
                </c:pt>
                <c:pt idx="95">
                  <c:v>14</c:v>
                </c:pt>
                <c:pt idx="96">
                  <c:v>16</c:v>
                </c:pt>
                <c:pt idx="97">
                  <c:v>18</c:v>
                </c:pt>
                <c:pt idx="98">
                  <c:v>19</c:v>
                </c:pt>
                <c:pt idx="99">
                  <c:v>17</c:v>
                </c:pt>
                <c:pt idx="100">
                  <c:v>16</c:v>
                </c:pt>
                <c:pt idx="101">
                  <c:v>16</c:v>
                </c:pt>
                <c:pt idx="102">
                  <c:v>18</c:v>
                </c:pt>
                <c:pt idx="103">
                  <c:v>18</c:v>
                </c:pt>
                <c:pt idx="104">
                  <c:v>21</c:v>
                </c:pt>
                <c:pt idx="105">
                  <c:v>21</c:v>
                </c:pt>
                <c:pt idx="106">
                  <c:v>24</c:v>
                </c:pt>
                <c:pt idx="107">
                  <c:v>25</c:v>
                </c:pt>
                <c:pt idx="108">
                  <c:v>26</c:v>
                </c:pt>
                <c:pt idx="109">
                  <c:v>25</c:v>
                </c:pt>
                <c:pt idx="110">
                  <c:v>23</c:v>
                </c:pt>
                <c:pt idx="111">
                  <c:v>22</c:v>
                </c:pt>
                <c:pt idx="112">
                  <c:v>21</c:v>
                </c:pt>
                <c:pt idx="113">
                  <c:v>22</c:v>
                </c:pt>
                <c:pt idx="114">
                  <c:v>22</c:v>
                </c:pt>
                <c:pt idx="115">
                  <c:v>22</c:v>
                </c:pt>
                <c:pt idx="116">
                  <c:v>18</c:v>
                </c:pt>
                <c:pt idx="117">
                  <c:v>20</c:v>
                </c:pt>
                <c:pt idx="118">
                  <c:v>18</c:v>
                </c:pt>
                <c:pt idx="119">
                  <c:v>17</c:v>
                </c:pt>
                <c:pt idx="120">
                  <c:v>14</c:v>
                </c:pt>
                <c:pt idx="121">
                  <c:v>13</c:v>
                </c:pt>
                <c:pt idx="122">
                  <c:v>10</c:v>
                </c:pt>
                <c:pt idx="123">
                  <c:v>12</c:v>
                </c:pt>
                <c:pt idx="124">
                  <c:v>14</c:v>
                </c:pt>
                <c:pt idx="125">
                  <c:v>16</c:v>
                </c:pt>
                <c:pt idx="126">
                  <c:v>16</c:v>
                </c:pt>
                <c:pt idx="127">
                  <c:v>18</c:v>
                </c:pt>
                <c:pt idx="128">
                  <c:v>19</c:v>
                </c:pt>
                <c:pt idx="129">
                  <c:v>20</c:v>
                </c:pt>
                <c:pt idx="130">
                  <c:v>22</c:v>
                </c:pt>
                <c:pt idx="131">
                  <c:v>24</c:v>
                </c:pt>
                <c:pt idx="132">
                  <c:v>25</c:v>
                </c:pt>
                <c:pt idx="133">
                  <c:v>25</c:v>
                </c:pt>
                <c:pt idx="134">
                  <c:v>25</c:v>
                </c:pt>
                <c:pt idx="135">
                  <c:v>25</c:v>
                </c:pt>
                <c:pt idx="136">
                  <c:v>25</c:v>
                </c:pt>
                <c:pt idx="137">
                  <c:v>27</c:v>
                </c:pt>
                <c:pt idx="138">
                  <c:v>28</c:v>
                </c:pt>
                <c:pt idx="139">
                  <c:v>25</c:v>
                </c:pt>
                <c:pt idx="140">
                  <c:v>26</c:v>
                </c:pt>
                <c:pt idx="141">
                  <c:v>25</c:v>
                </c:pt>
                <c:pt idx="142">
                  <c:v>25</c:v>
                </c:pt>
                <c:pt idx="143">
                  <c:v>24</c:v>
                </c:pt>
                <c:pt idx="144">
                  <c:v>19</c:v>
                </c:pt>
                <c:pt idx="145">
                  <c:v>20</c:v>
                </c:pt>
                <c:pt idx="146">
                  <c:v>18</c:v>
                </c:pt>
                <c:pt idx="147">
                  <c:v>23</c:v>
                </c:pt>
                <c:pt idx="148">
                  <c:v>29</c:v>
                </c:pt>
                <c:pt idx="149">
                  <c:v>30</c:v>
                </c:pt>
                <c:pt idx="150">
                  <c:v>28</c:v>
                </c:pt>
                <c:pt idx="151">
                  <c:v>26</c:v>
                </c:pt>
                <c:pt idx="152">
                  <c:v>31</c:v>
                </c:pt>
                <c:pt idx="153">
                  <c:v>31</c:v>
                </c:pt>
                <c:pt idx="154">
                  <c:v>33</c:v>
                </c:pt>
                <c:pt idx="155">
                  <c:v>33</c:v>
                </c:pt>
                <c:pt idx="156">
                  <c:v>32</c:v>
                </c:pt>
                <c:pt idx="157">
                  <c:v>33</c:v>
                </c:pt>
                <c:pt idx="158">
                  <c:v>34</c:v>
                </c:pt>
                <c:pt idx="159">
                  <c:v>36</c:v>
                </c:pt>
                <c:pt idx="160">
                  <c:v>38</c:v>
                </c:pt>
                <c:pt idx="161">
                  <c:v>40</c:v>
                </c:pt>
                <c:pt idx="162">
                  <c:v>39</c:v>
                </c:pt>
                <c:pt idx="163">
                  <c:v>41</c:v>
                </c:pt>
                <c:pt idx="164">
                  <c:v>42</c:v>
                </c:pt>
                <c:pt idx="165">
                  <c:v>49</c:v>
                </c:pt>
                <c:pt idx="166">
                  <c:v>51</c:v>
                </c:pt>
                <c:pt idx="167">
                  <c:v>56</c:v>
                </c:pt>
                <c:pt idx="168">
                  <c:v>59</c:v>
                </c:pt>
                <c:pt idx="169">
                  <c:v>66</c:v>
                </c:pt>
                <c:pt idx="170">
                  <c:v>72</c:v>
                </c:pt>
                <c:pt idx="171">
                  <c:v>74</c:v>
                </c:pt>
                <c:pt idx="172">
                  <c:v>75</c:v>
                </c:pt>
                <c:pt idx="173">
                  <c:v>80</c:v>
                </c:pt>
                <c:pt idx="174">
                  <c:v>85</c:v>
                </c:pt>
                <c:pt idx="175">
                  <c:v>93</c:v>
                </c:pt>
                <c:pt idx="176">
                  <c:v>95</c:v>
                </c:pt>
                <c:pt idx="177">
                  <c:v>96</c:v>
                </c:pt>
                <c:pt idx="178">
                  <c:v>102</c:v>
                </c:pt>
                <c:pt idx="179">
                  <c:v>112</c:v>
                </c:pt>
                <c:pt idx="180">
                  <c:v>124</c:v>
                </c:pt>
                <c:pt idx="181">
                  <c:v>132</c:v>
                </c:pt>
                <c:pt idx="182">
                  <c:v>1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7CD-4BA3-857E-B86804E5EE02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Ostatní zdravotničtí pracovníci</c:v>
                </c:pt>
              </c:strCache>
            </c:strRef>
          </c:tx>
          <c:spPr>
            <a:ln w="28575" cap="rnd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-5.3262316910785623E-3"/>
                  <c:y val="-4.6624648587328798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chemeClr val="bg1">
                          <a:lumMod val="50000"/>
                        </a:schemeClr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601304996662368"/>
                      <c:h val="7.530028975770307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37CD-4BA3-857E-B86804E5EE0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B$1</c:f>
              <c:strCache>
                <c:ptCount val="183"/>
                <c:pt idx="0">
                  <c:v>08.04.21</c:v>
                </c:pt>
                <c:pt idx="1">
                  <c:v>09.04.21</c:v>
                </c:pt>
                <c:pt idx="2">
                  <c:v>10.04.21</c:v>
                </c:pt>
                <c:pt idx="3">
                  <c:v>11.04.21</c:v>
                </c:pt>
                <c:pt idx="4">
                  <c:v>12.04.21</c:v>
                </c:pt>
                <c:pt idx="5">
                  <c:v>13.04.21</c:v>
                </c:pt>
                <c:pt idx="6">
                  <c:v>14.04.21</c:v>
                </c:pt>
                <c:pt idx="7">
                  <c:v>15.04.21</c:v>
                </c:pt>
                <c:pt idx="8">
                  <c:v>16.04.21</c:v>
                </c:pt>
                <c:pt idx="9">
                  <c:v>17.04.21</c:v>
                </c:pt>
                <c:pt idx="10">
                  <c:v>18.04.21</c:v>
                </c:pt>
                <c:pt idx="11">
                  <c:v>19.04.21</c:v>
                </c:pt>
                <c:pt idx="12">
                  <c:v>20.04.21</c:v>
                </c:pt>
                <c:pt idx="13">
                  <c:v>21.04.21</c:v>
                </c:pt>
                <c:pt idx="14">
                  <c:v>22.04.21</c:v>
                </c:pt>
                <c:pt idx="15">
                  <c:v>23.04.21</c:v>
                </c:pt>
                <c:pt idx="16">
                  <c:v>24.04.21</c:v>
                </c:pt>
                <c:pt idx="17">
                  <c:v>25.04.21</c:v>
                </c:pt>
                <c:pt idx="18">
                  <c:v>26.04.21</c:v>
                </c:pt>
                <c:pt idx="19">
                  <c:v>27.04.21</c:v>
                </c:pt>
                <c:pt idx="20">
                  <c:v>28.04.21</c:v>
                </c:pt>
                <c:pt idx="21">
                  <c:v>29.04.21</c:v>
                </c:pt>
                <c:pt idx="22">
                  <c:v>30.04.21</c:v>
                </c:pt>
                <c:pt idx="23">
                  <c:v>01.05.21</c:v>
                </c:pt>
                <c:pt idx="24">
                  <c:v>02.05.21</c:v>
                </c:pt>
                <c:pt idx="25">
                  <c:v>03.05.21</c:v>
                </c:pt>
                <c:pt idx="26">
                  <c:v>04.05.21</c:v>
                </c:pt>
                <c:pt idx="27">
                  <c:v>05.05.21</c:v>
                </c:pt>
                <c:pt idx="28">
                  <c:v>06.05.21</c:v>
                </c:pt>
                <c:pt idx="29">
                  <c:v>07.05.21</c:v>
                </c:pt>
                <c:pt idx="30">
                  <c:v>08.05.21</c:v>
                </c:pt>
                <c:pt idx="31">
                  <c:v>09.05.21</c:v>
                </c:pt>
                <c:pt idx="32">
                  <c:v>10.05.21</c:v>
                </c:pt>
                <c:pt idx="33">
                  <c:v>11.05.21</c:v>
                </c:pt>
                <c:pt idx="34">
                  <c:v>12.05.21</c:v>
                </c:pt>
                <c:pt idx="35">
                  <c:v>13.05.21</c:v>
                </c:pt>
                <c:pt idx="36">
                  <c:v>14.05.21</c:v>
                </c:pt>
                <c:pt idx="37">
                  <c:v>15.05.21</c:v>
                </c:pt>
                <c:pt idx="38">
                  <c:v>16.05.21</c:v>
                </c:pt>
                <c:pt idx="39">
                  <c:v>17.05.21</c:v>
                </c:pt>
                <c:pt idx="40">
                  <c:v>18.05.21</c:v>
                </c:pt>
                <c:pt idx="41">
                  <c:v>19.05.21</c:v>
                </c:pt>
                <c:pt idx="42">
                  <c:v>20.05.21</c:v>
                </c:pt>
                <c:pt idx="43">
                  <c:v>21.05.21</c:v>
                </c:pt>
                <c:pt idx="44">
                  <c:v>22.05.21</c:v>
                </c:pt>
                <c:pt idx="45">
                  <c:v>23.05.21</c:v>
                </c:pt>
                <c:pt idx="46">
                  <c:v>24.05.21</c:v>
                </c:pt>
                <c:pt idx="47">
                  <c:v>25.05.21</c:v>
                </c:pt>
                <c:pt idx="48">
                  <c:v>26.05.21</c:v>
                </c:pt>
                <c:pt idx="49">
                  <c:v>27.05.21</c:v>
                </c:pt>
                <c:pt idx="50">
                  <c:v>28.05.21</c:v>
                </c:pt>
                <c:pt idx="51">
                  <c:v>29.05.21</c:v>
                </c:pt>
                <c:pt idx="52">
                  <c:v>30.05.21</c:v>
                </c:pt>
                <c:pt idx="53">
                  <c:v>31.05.21</c:v>
                </c:pt>
                <c:pt idx="54">
                  <c:v>01.06.21</c:v>
                </c:pt>
                <c:pt idx="55">
                  <c:v>02.06.21</c:v>
                </c:pt>
                <c:pt idx="56">
                  <c:v>03.06.21</c:v>
                </c:pt>
                <c:pt idx="57">
                  <c:v>04.06.21</c:v>
                </c:pt>
                <c:pt idx="58">
                  <c:v>05.06.21</c:v>
                </c:pt>
                <c:pt idx="59">
                  <c:v>06.06.21</c:v>
                </c:pt>
                <c:pt idx="60">
                  <c:v>07.06.21</c:v>
                </c:pt>
                <c:pt idx="61">
                  <c:v>08.06.21</c:v>
                </c:pt>
                <c:pt idx="62">
                  <c:v>09.06.21</c:v>
                </c:pt>
                <c:pt idx="63">
                  <c:v>10.06.21</c:v>
                </c:pt>
                <c:pt idx="64">
                  <c:v>11.06.21</c:v>
                </c:pt>
                <c:pt idx="65">
                  <c:v>12.06.21</c:v>
                </c:pt>
                <c:pt idx="66">
                  <c:v>13.06.21</c:v>
                </c:pt>
                <c:pt idx="67">
                  <c:v>14.06.21</c:v>
                </c:pt>
                <c:pt idx="68">
                  <c:v>15.06.21</c:v>
                </c:pt>
                <c:pt idx="69">
                  <c:v>16.06.21</c:v>
                </c:pt>
                <c:pt idx="70">
                  <c:v>17.06.21</c:v>
                </c:pt>
                <c:pt idx="71">
                  <c:v>18.06.21</c:v>
                </c:pt>
                <c:pt idx="72">
                  <c:v>19.06.21</c:v>
                </c:pt>
                <c:pt idx="73">
                  <c:v>20.06.21</c:v>
                </c:pt>
                <c:pt idx="74">
                  <c:v>21.06.21</c:v>
                </c:pt>
                <c:pt idx="75">
                  <c:v>22.06.21</c:v>
                </c:pt>
                <c:pt idx="76">
                  <c:v>23.06.21</c:v>
                </c:pt>
                <c:pt idx="77">
                  <c:v>24.06.21</c:v>
                </c:pt>
                <c:pt idx="78">
                  <c:v>25.06.21</c:v>
                </c:pt>
                <c:pt idx="79">
                  <c:v>26.06.21</c:v>
                </c:pt>
                <c:pt idx="80">
                  <c:v>27.06.21</c:v>
                </c:pt>
                <c:pt idx="81">
                  <c:v>28.06.21</c:v>
                </c:pt>
                <c:pt idx="82">
                  <c:v>29.06.21</c:v>
                </c:pt>
                <c:pt idx="83">
                  <c:v>30.06.21</c:v>
                </c:pt>
                <c:pt idx="84">
                  <c:v>01.07.21</c:v>
                </c:pt>
                <c:pt idx="85">
                  <c:v>02.07.21</c:v>
                </c:pt>
                <c:pt idx="86">
                  <c:v>03.07.21</c:v>
                </c:pt>
                <c:pt idx="87">
                  <c:v>04.07.21</c:v>
                </c:pt>
                <c:pt idx="88">
                  <c:v>05.07.21</c:v>
                </c:pt>
                <c:pt idx="89">
                  <c:v>06.07.21</c:v>
                </c:pt>
                <c:pt idx="90">
                  <c:v>07.07.21</c:v>
                </c:pt>
                <c:pt idx="91">
                  <c:v>08.07.21</c:v>
                </c:pt>
                <c:pt idx="92">
                  <c:v>09.07.21</c:v>
                </c:pt>
                <c:pt idx="93">
                  <c:v>10.07.21</c:v>
                </c:pt>
                <c:pt idx="94">
                  <c:v>11.07.21</c:v>
                </c:pt>
                <c:pt idx="95">
                  <c:v>12.07.21</c:v>
                </c:pt>
                <c:pt idx="96">
                  <c:v>13.07.21</c:v>
                </c:pt>
                <c:pt idx="97">
                  <c:v>14.07.21</c:v>
                </c:pt>
                <c:pt idx="98">
                  <c:v>15.07.21</c:v>
                </c:pt>
                <c:pt idx="99">
                  <c:v>16.07.21</c:v>
                </c:pt>
                <c:pt idx="100">
                  <c:v>17.07.21</c:v>
                </c:pt>
                <c:pt idx="101">
                  <c:v>18.07.21</c:v>
                </c:pt>
                <c:pt idx="102">
                  <c:v>19.07.21</c:v>
                </c:pt>
                <c:pt idx="103">
                  <c:v>20.07.21</c:v>
                </c:pt>
                <c:pt idx="104">
                  <c:v>21.07.21</c:v>
                </c:pt>
                <c:pt idx="105">
                  <c:v>22.07.21</c:v>
                </c:pt>
                <c:pt idx="106">
                  <c:v>23.07.21</c:v>
                </c:pt>
                <c:pt idx="107">
                  <c:v>24.07.21</c:v>
                </c:pt>
                <c:pt idx="108">
                  <c:v>25.07.21</c:v>
                </c:pt>
                <c:pt idx="109">
                  <c:v>26.07.21</c:v>
                </c:pt>
                <c:pt idx="110">
                  <c:v>27.07.21</c:v>
                </c:pt>
                <c:pt idx="111">
                  <c:v>28.07.21</c:v>
                </c:pt>
                <c:pt idx="112">
                  <c:v>29.07.21</c:v>
                </c:pt>
                <c:pt idx="113">
                  <c:v>30.07.21</c:v>
                </c:pt>
                <c:pt idx="114">
                  <c:v>31.07.21</c:v>
                </c:pt>
                <c:pt idx="115">
                  <c:v>01.08.21</c:v>
                </c:pt>
                <c:pt idx="116">
                  <c:v>02.08.21</c:v>
                </c:pt>
                <c:pt idx="117">
                  <c:v>03.08.21</c:v>
                </c:pt>
                <c:pt idx="118">
                  <c:v>04.08.21</c:v>
                </c:pt>
                <c:pt idx="119">
                  <c:v>05.08.21</c:v>
                </c:pt>
                <c:pt idx="120">
                  <c:v>06.08.21</c:v>
                </c:pt>
                <c:pt idx="121">
                  <c:v>07.08.21</c:v>
                </c:pt>
                <c:pt idx="122">
                  <c:v>08.08.21</c:v>
                </c:pt>
                <c:pt idx="123">
                  <c:v>09.08.21</c:v>
                </c:pt>
                <c:pt idx="124">
                  <c:v>10.08.21</c:v>
                </c:pt>
                <c:pt idx="125">
                  <c:v>11.08.21</c:v>
                </c:pt>
                <c:pt idx="126">
                  <c:v>12.08.21</c:v>
                </c:pt>
                <c:pt idx="127">
                  <c:v>13.08.21</c:v>
                </c:pt>
                <c:pt idx="128">
                  <c:v>14.08.21</c:v>
                </c:pt>
                <c:pt idx="129">
                  <c:v>15.08.21</c:v>
                </c:pt>
                <c:pt idx="130">
                  <c:v>16.08.21</c:v>
                </c:pt>
                <c:pt idx="131">
                  <c:v>17.08.21</c:v>
                </c:pt>
                <c:pt idx="132">
                  <c:v>18.08.21</c:v>
                </c:pt>
                <c:pt idx="133">
                  <c:v>19.08.21</c:v>
                </c:pt>
                <c:pt idx="134">
                  <c:v>20.08.21</c:v>
                </c:pt>
                <c:pt idx="135">
                  <c:v>21.08.21</c:v>
                </c:pt>
                <c:pt idx="136">
                  <c:v>22.08.21</c:v>
                </c:pt>
                <c:pt idx="137">
                  <c:v>23.08.21</c:v>
                </c:pt>
                <c:pt idx="138">
                  <c:v>24.08.21</c:v>
                </c:pt>
                <c:pt idx="139">
                  <c:v>25.08.21</c:v>
                </c:pt>
                <c:pt idx="140">
                  <c:v>26.08.21</c:v>
                </c:pt>
                <c:pt idx="141">
                  <c:v>27.08.21</c:v>
                </c:pt>
                <c:pt idx="142">
                  <c:v>28.08.21</c:v>
                </c:pt>
                <c:pt idx="143">
                  <c:v>29.08.21</c:v>
                </c:pt>
                <c:pt idx="144">
                  <c:v>30.08.21</c:v>
                </c:pt>
                <c:pt idx="145">
                  <c:v>31.08.21</c:v>
                </c:pt>
                <c:pt idx="146">
                  <c:v>01.09.21</c:v>
                </c:pt>
                <c:pt idx="147">
                  <c:v>02.09.21</c:v>
                </c:pt>
                <c:pt idx="148">
                  <c:v>03.09.21</c:v>
                </c:pt>
                <c:pt idx="149">
                  <c:v>04.09.21</c:v>
                </c:pt>
                <c:pt idx="150">
                  <c:v>05.09.21</c:v>
                </c:pt>
                <c:pt idx="151">
                  <c:v>06.09.21</c:v>
                </c:pt>
                <c:pt idx="152">
                  <c:v>07.09.21</c:v>
                </c:pt>
                <c:pt idx="153">
                  <c:v>08.09.21</c:v>
                </c:pt>
                <c:pt idx="154">
                  <c:v>09.09.21</c:v>
                </c:pt>
                <c:pt idx="155">
                  <c:v>10.09.21</c:v>
                </c:pt>
                <c:pt idx="156">
                  <c:v>11.09.21</c:v>
                </c:pt>
                <c:pt idx="157">
                  <c:v>12.09.21</c:v>
                </c:pt>
                <c:pt idx="158">
                  <c:v>13.09.21</c:v>
                </c:pt>
                <c:pt idx="159">
                  <c:v>14.09.21</c:v>
                </c:pt>
                <c:pt idx="160">
                  <c:v>15.09.21</c:v>
                </c:pt>
                <c:pt idx="161">
                  <c:v>16.09.21</c:v>
                </c:pt>
                <c:pt idx="162">
                  <c:v>17.09.21</c:v>
                </c:pt>
                <c:pt idx="163">
                  <c:v>18.09.21</c:v>
                </c:pt>
                <c:pt idx="164">
                  <c:v>19.09.21</c:v>
                </c:pt>
                <c:pt idx="165">
                  <c:v>20.09.21</c:v>
                </c:pt>
                <c:pt idx="166">
                  <c:v>21.09.21</c:v>
                </c:pt>
                <c:pt idx="167">
                  <c:v>22.09.21</c:v>
                </c:pt>
                <c:pt idx="168">
                  <c:v>23.09.21</c:v>
                </c:pt>
                <c:pt idx="169">
                  <c:v>24.09.21</c:v>
                </c:pt>
                <c:pt idx="170">
                  <c:v>25.09.21</c:v>
                </c:pt>
                <c:pt idx="171">
                  <c:v>26.09.21</c:v>
                </c:pt>
                <c:pt idx="172">
                  <c:v>27.09.21</c:v>
                </c:pt>
                <c:pt idx="173">
                  <c:v>28.09.21</c:v>
                </c:pt>
                <c:pt idx="174">
                  <c:v>29.09.21</c:v>
                </c:pt>
                <c:pt idx="175">
                  <c:v>30.09.21</c:v>
                </c:pt>
                <c:pt idx="176">
                  <c:v>01.10.21</c:v>
                </c:pt>
                <c:pt idx="177">
                  <c:v>02.10.21</c:v>
                </c:pt>
                <c:pt idx="178">
                  <c:v>03.10.21</c:v>
                </c:pt>
                <c:pt idx="179">
                  <c:v>04.10.21</c:v>
                </c:pt>
                <c:pt idx="180">
                  <c:v>05.10.21</c:v>
                </c:pt>
                <c:pt idx="181">
                  <c:v>06.10.21</c:v>
                </c:pt>
                <c:pt idx="182">
                  <c:v>07.10.21</c:v>
                </c:pt>
              </c:strCache>
            </c:strRef>
          </c:cat>
          <c:val>
            <c:numRef>
              <c:f>List1!$B$4:$GB$4</c:f>
              <c:numCache>
                <c:formatCode>General</c:formatCode>
                <c:ptCount val="183"/>
                <c:pt idx="0">
                  <c:v>530</c:v>
                </c:pt>
                <c:pt idx="1">
                  <c:v>513</c:v>
                </c:pt>
                <c:pt idx="2">
                  <c:v>514</c:v>
                </c:pt>
                <c:pt idx="3">
                  <c:v>508</c:v>
                </c:pt>
                <c:pt idx="4">
                  <c:v>448</c:v>
                </c:pt>
                <c:pt idx="5">
                  <c:v>411</c:v>
                </c:pt>
                <c:pt idx="6">
                  <c:v>382</c:v>
                </c:pt>
                <c:pt idx="7">
                  <c:v>367</c:v>
                </c:pt>
                <c:pt idx="8">
                  <c:v>371</c:v>
                </c:pt>
                <c:pt idx="9">
                  <c:v>358</c:v>
                </c:pt>
                <c:pt idx="10">
                  <c:v>356</c:v>
                </c:pt>
                <c:pt idx="11">
                  <c:v>369</c:v>
                </c:pt>
                <c:pt idx="12">
                  <c:v>330</c:v>
                </c:pt>
                <c:pt idx="13">
                  <c:v>313</c:v>
                </c:pt>
                <c:pt idx="14">
                  <c:v>289</c:v>
                </c:pt>
                <c:pt idx="15">
                  <c:v>267</c:v>
                </c:pt>
                <c:pt idx="16">
                  <c:v>262</c:v>
                </c:pt>
                <c:pt idx="17">
                  <c:v>258</c:v>
                </c:pt>
                <c:pt idx="18">
                  <c:v>241</c:v>
                </c:pt>
                <c:pt idx="19">
                  <c:v>226</c:v>
                </c:pt>
                <c:pt idx="20">
                  <c:v>218</c:v>
                </c:pt>
                <c:pt idx="21">
                  <c:v>223</c:v>
                </c:pt>
                <c:pt idx="22">
                  <c:v>221</c:v>
                </c:pt>
                <c:pt idx="23">
                  <c:v>219</c:v>
                </c:pt>
                <c:pt idx="24">
                  <c:v>218</c:v>
                </c:pt>
                <c:pt idx="25">
                  <c:v>201</c:v>
                </c:pt>
                <c:pt idx="26">
                  <c:v>191</c:v>
                </c:pt>
                <c:pt idx="27">
                  <c:v>179</c:v>
                </c:pt>
                <c:pt idx="28">
                  <c:v>180</c:v>
                </c:pt>
                <c:pt idx="29">
                  <c:v>181</c:v>
                </c:pt>
                <c:pt idx="30">
                  <c:v>182</c:v>
                </c:pt>
                <c:pt idx="31">
                  <c:v>179</c:v>
                </c:pt>
                <c:pt idx="32">
                  <c:v>164</c:v>
                </c:pt>
                <c:pt idx="33">
                  <c:v>165</c:v>
                </c:pt>
                <c:pt idx="34">
                  <c:v>159</c:v>
                </c:pt>
                <c:pt idx="35">
                  <c:v>147</c:v>
                </c:pt>
                <c:pt idx="36">
                  <c:v>137</c:v>
                </c:pt>
                <c:pt idx="37">
                  <c:v>139</c:v>
                </c:pt>
                <c:pt idx="38">
                  <c:v>139</c:v>
                </c:pt>
                <c:pt idx="39">
                  <c:v>128</c:v>
                </c:pt>
                <c:pt idx="40">
                  <c:v>119</c:v>
                </c:pt>
                <c:pt idx="41">
                  <c:v>108</c:v>
                </c:pt>
                <c:pt idx="42">
                  <c:v>102</c:v>
                </c:pt>
                <c:pt idx="43">
                  <c:v>92</c:v>
                </c:pt>
                <c:pt idx="44">
                  <c:v>91</c:v>
                </c:pt>
                <c:pt idx="45">
                  <c:v>89</c:v>
                </c:pt>
                <c:pt idx="46">
                  <c:v>81</c:v>
                </c:pt>
                <c:pt idx="47">
                  <c:v>67</c:v>
                </c:pt>
                <c:pt idx="48">
                  <c:v>62</c:v>
                </c:pt>
                <c:pt idx="49">
                  <c:v>53</c:v>
                </c:pt>
                <c:pt idx="50">
                  <c:v>44</c:v>
                </c:pt>
                <c:pt idx="51">
                  <c:v>43</c:v>
                </c:pt>
                <c:pt idx="52">
                  <c:v>43</c:v>
                </c:pt>
                <c:pt idx="53">
                  <c:v>37</c:v>
                </c:pt>
                <c:pt idx="54">
                  <c:v>32</c:v>
                </c:pt>
                <c:pt idx="55">
                  <c:v>27</c:v>
                </c:pt>
                <c:pt idx="56">
                  <c:v>25</c:v>
                </c:pt>
                <c:pt idx="57">
                  <c:v>21</c:v>
                </c:pt>
                <c:pt idx="58">
                  <c:v>22</c:v>
                </c:pt>
                <c:pt idx="59">
                  <c:v>21</c:v>
                </c:pt>
                <c:pt idx="60">
                  <c:v>18</c:v>
                </c:pt>
                <c:pt idx="61">
                  <c:v>16</c:v>
                </c:pt>
                <c:pt idx="62">
                  <c:v>15</c:v>
                </c:pt>
                <c:pt idx="63">
                  <c:v>14</c:v>
                </c:pt>
                <c:pt idx="64">
                  <c:v>12</c:v>
                </c:pt>
                <c:pt idx="65">
                  <c:v>12</c:v>
                </c:pt>
                <c:pt idx="66">
                  <c:v>12</c:v>
                </c:pt>
                <c:pt idx="67">
                  <c:v>9</c:v>
                </c:pt>
                <c:pt idx="68">
                  <c:v>8</c:v>
                </c:pt>
                <c:pt idx="69">
                  <c:v>9</c:v>
                </c:pt>
                <c:pt idx="70">
                  <c:v>10</c:v>
                </c:pt>
                <c:pt idx="71">
                  <c:v>10</c:v>
                </c:pt>
                <c:pt idx="72">
                  <c:v>8</c:v>
                </c:pt>
                <c:pt idx="73">
                  <c:v>9</c:v>
                </c:pt>
                <c:pt idx="74">
                  <c:v>8</c:v>
                </c:pt>
                <c:pt idx="75">
                  <c:v>6</c:v>
                </c:pt>
                <c:pt idx="76">
                  <c:v>8</c:v>
                </c:pt>
                <c:pt idx="77">
                  <c:v>9</c:v>
                </c:pt>
                <c:pt idx="78">
                  <c:v>8</c:v>
                </c:pt>
                <c:pt idx="79">
                  <c:v>9</c:v>
                </c:pt>
                <c:pt idx="80">
                  <c:v>11</c:v>
                </c:pt>
                <c:pt idx="81">
                  <c:v>11</c:v>
                </c:pt>
                <c:pt idx="82">
                  <c:v>12</c:v>
                </c:pt>
                <c:pt idx="83">
                  <c:v>12</c:v>
                </c:pt>
                <c:pt idx="84">
                  <c:v>11</c:v>
                </c:pt>
                <c:pt idx="85">
                  <c:v>12</c:v>
                </c:pt>
                <c:pt idx="86">
                  <c:v>10</c:v>
                </c:pt>
                <c:pt idx="87">
                  <c:v>10</c:v>
                </c:pt>
                <c:pt idx="88">
                  <c:v>10</c:v>
                </c:pt>
                <c:pt idx="89">
                  <c:v>10</c:v>
                </c:pt>
                <c:pt idx="90">
                  <c:v>10</c:v>
                </c:pt>
                <c:pt idx="91">
                  <c:v>14</c:v>
                </c:pt>
                <c:pt idx="92">
                  <c:v>17</c:v>
                </c:pt>
                <c:pt idx="93">
                  <c:v>16</c:v>
                </c:pt>
                <c:pt idx="94">
                  <c:v>15</c:v>
                </c:pt>
                <c:pt idx="95">
                  <c:v>17</c:v>
                </c:pt>
                <c:pt idx="96">
                  <c:v>17</c:v>
                </c:pt>
                <c:pt idx="97">
                  <c:v>21</c:v>
                </c:pt>
                <c:pt idx="98">
                  <c:v>23</c:v>
                </c:pt>
                <c:pt idx="99">
                  <c:v>27</c:v>
                </c:pt>
                <c:pt idx="100">
                  <c:v>28</c:v>
                </c:pt>
                <c:pt idx="101">
                  <c:v>29</c:v>
                </c:pt>
                <c:pt idx="102">
                  <c:v>31</c:v>
                </c:pt>
                <c:pt idx="103">
                  <c:v>36</c:v>
                </c:pt>
                <c:pt idx="104">
                  <c:v>35</c:v>
                </c:pt>
                <c:pt idx="105">
                  <c:v>34</c:v>
                </c:pt>
                <c:pt idx="106">
                  <c:v>33</c:v>
                </c:pt>
                <c:pt idx="107">
                  <c:v>33</c:v>
                </c:pt>
                <c:pt idx="108">
                  <c:v>33</c:v>
                </c:pt>
                <c:pt idx="109">
                  <c:v>34</c:v>
                </c:pt>
                <c:pt idx="110">
                  <c:v>38</c:v>
                </c:pt>
                <c:pt idx="111">
                  <c:v>35</c:v>
                </c:pt>
                <c:pt idx="112">
                  <c:v>34</c:v>
                </c:pt>
                <c:pt idx="113">
                  <c:v>32</c:v>
                </c:pt>
                <c:pt idx="114">
                  <c:v>32</c:v>
                </c:pt>
                <c:pt idx="115">
                  <c:v>30</c:v>
                </c:pt>
                <c:pt idx="116">
                  <c:v>28</c:v>
                </c:pt>
                <c:pt idx="117">
                  <c:v>30</c:v>
                </c:pt>
                <c:pt idx="118">
                  <c:v>32</c:v>
                </c:pt>
                <c:pt idx="119">
                  <c:v>28</c:v>
                </c:pt>
                <c:pt idx="120">
                  <c:v>29</c:v>
                </c:pt>
                <c:pt idx="121">
                  <c:v>29</c:v>
                </c:pt>
                <c:pt idx="122">
                  <c:v>27</c:v>
                </c:pt>
                <c:pt idx="123">
                  <c:v>29</c:v>
                </c:pt>
                <c:pt idx="124">
                  <c:v>27</c:v>
                </c:pt>
                <c:pt idx="125">
                  <c:v>27</c:v>
                </c:pt>
                <c:pt idx="126">
                  <c:v>26</c:v>
                </c:pt>
                <c:pt idx="127">
                  <c:v>31</c:v>
                </c:pt>
                <c:pt idx="128">
                  <c:v>32</c:v>
                </c:pt>
                <c:pt idx="129">
                  <c:v>32</c:v>
                </c:pt>
                <c:pt idx="130">
                  <c:v>30</c:v>
                </c:pt>
                <c:pt idx="131">
                  <c:v>27</c:v>
                </c:pt>
                <c:pt idx="132">
                  <c:v>26</c:v>
                </c:pt>
                <c:pt idx="133">
                  <c:v>24</c:v>
                </c:pt>
                <c:pt idx="134">
                  <c:v>26</c:v>
                </c:pt>
                <c:pt idx="135">
                  <c:v>26</c:v>
                </c:pt>
                <c:pt idx="136">
                  <c:v>27</c:v>
                </c:pt>
                <c:pt idx="137">
                  <c:v>24</c:v>
                </c:pt>
                <c:pt idx="138">
                  <c:v>25</c:v>
                </c:pt>
                <c:pt idx="139">
                  <c:v>29</c:v>
                </c:pt>
                <c:pt idx="140">
                  <c:v>27</c:v>
                </c:pt>
                <c:pt idx="141">
                  <c:v>26</c:v>
                </c:pt>
                <c:pt idx="142">
                  <c:v>24</c:v>
                </c:pt>
                <c:pt idx="143">
                  <c:v>25</c:v>
                </c:pt>
                <c:pt idx="144">
                  <c:v>23</c:v>
                </c:pt>
                <c:pt idx="145">
                  <c:v>24</c:v>
                </c:pt>
                <c:pt idx="146">
                  <c:v>26</c:v>
                </c:pt>
                <c:pt idx="147">
                  <c:v>30</c:v>
                </c:pt>
                <c:pt idx="148">
                  <c:v>32</c:v>
                </c:pt>
                <c:pt idx="149">
                  <c:v>36</c:v>
                </c:pt>
                <c:pt idx="150">
                  <c:v>35</c:v>
                </c:pt>
                <c:pt idx="151">
                  <c:v>40</c:v>
                </c:pt>
                <c:pt idx="152">
                  <c:v>42</c:v>
                </c:pt>
                <c:pt idx="153">
                  <c:v>39</c:v>
                </c:pt>
                <c:pt idx="154">
                  <c:v>38</c:v>
                </c:pt>
                <c:pt idx="155">
                  <c:v>40</c:v>
                </c:pt>
                <c:pt idx="156">
                  <c:v>39</c:v>
                </c:pt>
                <c:pt idx="157">
                  <c:v>42</c:v>
                </c:pt>
                <c:pt idx="158">
                  <c:v>43</c:v>
                </c:pt>
                <c:pt idx="159">
                  <c:v>43</c:v>
                </c:pt>
                <c:pt idx="160">
                  <c:v>47</c:v>
                </c:pt>
                <c:pt idx="161">
                  <c:v>50</c:v>
                </c:pt>
                <c:pt idx="162">
                  <c:v>48</c:v>
                </c:pt>
                <c:pt idx="163">
                  <c:v>47</c:v>
                </c:pt>
                <c:pt idx="164">
                  <c:v>50</c:v>
                </c:pt>
                <c:pt idx="165">
                  <c:v>50</c:v>
                </c:pt>
                <c:pt idx="166">
                  <c:v>58</c:v>
                </c:pt>
                <c:pt idx="167">
                  <c:v>65</c:v>
                </c:pt>
                <c:pt idx="168">
                  <c:v>66</c:v>
                </c:pt>
                <c:pt idx="169">
                  <c:v>69</c:v>
                </c:pt>
                <c:pt idx="170">
                  <c:v>73</c:v>
                </c:pt>
                <c:pt idx="171">
                  <c:v>72</c:v>
                </c:pt>
                <c:pt idx="172">
                  <c:v>74</c:v>
                </c:pt>
                <c:pt idx="173">
                  <c:v>79</c:v>
                </c:pt>
                <c:pt idx="174">
                  <c:v>79</c:v>
                </c:pt>
                <c:pt idx="175">
                  <c:v>84</c:v>
                </c:pt>
                <c:pt idx="176">
                  <c:v>87</c:v>
                </c:pt>
                <c:pt idx="177">
                  <c:v>89</c:v>
                </c:pt>
                <c:pt idx="178">
                  <c:v>91</c:v>
                </c:pt>
                <c:pt idx="179">
                  <c:v>98</c:v>
                </c:pt>
                <c:pt idx="180">
                  <c:v>109</c:v>
                </c:pt>
                <c:pt idx="181">
                  <c:v>122</c:v>
                </c:pt>
                <c:pt idx="182">
                  <c:v>1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37CD-4BA3-857E-B86804E5EE0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04314152"/>
        <c:axId val="604312192"/>
      </c:lineChart>
      <c:catAx>
        <c:axId val="604314152"/>
        <c:scaling>
          <c:orientation val="minMax"/>
        </c:scaling>
        <c:delete val="0"/>
        <c:axPos val="b"/>
        <c:numFmt formatCode="dd/mm/yy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2192"/>
        <c:crosses val="autoZero"/>
        <c:auto val="1"/>
        <c:lblAlgn val="ctr"/>
        <c:lblOffset val="100"/>
        <c:tickLblSkip val="7"/>
        <c:noMultiLvlLbl val="0"/>
      </c:catAx>
      <c:valAx>
        <c:axId val="604312192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41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5105486733009034"/>
          <c:y val="6.7225186576531884E-2"/>
          <c:w val="0.60212445764572553"/>
          <c:h val="0.9054811758888358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%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Plzeňský kraj</c:v>
                </c:pt>
                <c:pt idx="1">
                  <c:v>Liberecký kraj</c:v>
                </c:pt>
                <c:pt idx="2">
                  <c:v>Kraj Vysočina</c:v>
                </c:pt>
                <c:pt idx="3">
                  <c:v>Hlavní město Praha</c:v>
                </c:pt>
                <c:pt idx="4">
                  <c:v>Středočeský kraj</c:v>
                </c:pt>
                <c:pt idx="5">
                  <c:v>Královéhradecký kraj</c:v>
                </c:pt>
                <c:pt idx="6">
                  <c:v>Ústecký kraj</c:v>
                </c:pt>
                <c:pt idx="7">
                  <c:v>Pardubický kraj</c:v>
                </c:pt>
                <c:pt idx="8">
                  <c:v>Jihočeský kraj</c:v>
                </c:pt>
                <c:pt idx="9">
                  <c:v>ČR</c:v>
                </c:pt>
                <c:pt idx="10">
                  <c:v>Olomoucký kraj</c:v>
                </c:pt>
                <c:pt idx="11">
                  <c:v>Jihomoravský kraj</c:v>
                </c:pt>
                <c:pt idx="12">
                  <c:v>Karlovarský kraj</c:v>
                </c:pt>
                <c:pt idx="13">
                  <c:v>Zlínský kraj</c:v>
                </c:pt>
                <c:pt idx="14">
                  <c:v>Moravskoslez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91.453460000000007</c:v>
                </c:pt>
                <c:pt idx="1">
                  <c:v>88.230580000000003</c:v>
                </c:pt>
                <c:pt idx="2">
                  <c:v>88.194969999999998</c:v>
                </c:pt>
                <c:pt idx="3">
                  <c:v>88.002970000000005</c:v>
                </c:pt>
                <c:pt idx="4">
                  <c:v>87.870620000000002</c:v>
                </c:pt>
                <c:pt idx="5">
                  <c:v>87.857140000000001</c:v>
                </c:pt>
                <c:pt idx="6">
                  <c:v>87.409549999999996</c:v>
                </c:pt>
                <c:pt idx="7">
                  <c:v>87.02176</c:v>
                </c:pt>
                <c:pt idx="8">
                  <c:v>86.660079999999994</c:v>
                </c:pt>
                <c:pt idx="9">
                  <c:v>86.101219999999998</c:v>
                </c:pt>
                <c:pt idx="10">
                  <c:v>85.365849999999995</c:v>
                </c:pt>
                <c:pt idx="11">
                  <c:v>83.817430000000002</c:v>
                </c:pt>
                <c:pt idx="12">
                  <c:v>82.670450000000002</c:v>
                </c:pt>
                <c:pt idx="13">
                  <c:v>82.088570000000004</c:v>
                </c:pt>
                <c:pt idx="14">
                  <c:v>81.6439100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A38-498E-AF17-8F5778D625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83764288"/>
        <c:axId val="50879584"/>
      </c:barChart>
      <c:catAx>
        <c:axId val="383764288"/>
        <c:scaling>
          <c:orientation val="maxMin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0879584"/>
        <c:crosses val="autoZero"/>
        <c:auto val="1"/>
        <c:lblAlgn val="ctr"/>
        <c:lblOffset val="100"/>
        <c:noMultiLvlLbl val="0"/>
      </c:catAx>
      <c:valAx>
        <c:axId val="50879584"/>
        <c:scaling>
          <c:orientation val="minMax"/>
          <c:min val="0"/>
        </c:scaling>
        <c:delete val="0"/>
        <c:axPos val="t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837642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5105486733009034"/>
          <c:y val="6.7225186576531884E-2"/>
          <c:w val="0.60212445764572553"/>
          <c:h val="0.9054811758888358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%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Ústecký kraj</c:v>
                </c:pt>
                <c:pt idx="1">
                  <c:v>Plzeňský kraj</c:v>
                </c:pt>
                <c:pt idx="2">
                  <c:v>Kraj Vysočina</c:v>
                </c:pt>
                <c:pt idx="3">
                  <c:v>Hlavní město Praha</c:v>
                </c:pt>
                <c:pt idx="4">
                  <c:v>Středočeský kraj</c:v>
                </c:pt>
                <c:pt idx="5">
                  <c:v>Královéhradecký kraj</c:v>
                </c:pt>
                <c:pt idx="6">
                  <c:v>Karlovarský kraj</c:v>
                </c:pt>
                <c:pt idx="7">
                  <c:v>Jihočeský kraj</c:v>
                </c:pt>
                <c:pt idx="8">
                  <c:v>ČR</c:v>
                </c:pt>
                <c:pt idx="9">
                  <c:v>Liberecký kraj</c:v>
                </c:pt>
                <c:pt idx="10">
                  <c:v>Jihomoravský kraj</c:v>
                </c:pt>
                <c:pt idx="11">
                  <c:v>Pardubický kraj</c:v>
                </c:pt>
                <c:pt idx="12">
                  <c:v>Moravskoslezský kraj</c:v>
                </c:pt>
                <c:pt idx="13">
                  <c:v>Zlínský kraj</c:v>
                </c:pt>
                <c:pt idx="14">
                  <c:v>Olomouc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83.794110000000003</c:v>
                </c:pt>
                <c:pt idx="1">
                  <c:v>82.96002</c:v>
                </c:pt>
                <c:pt idx="2">
                  <c:v>82.911600000000007</c:v>
                </c:pt>
                <c:pt idx="3">
                  <c:v>82.819310000000002</c:v>
                </c:pt>
                <c:pt idx="4">
                  <c:v>82.779780000000002</c:v>
                </c:pt>
                <c:pt idx="5">
                  <c:v>81.441159999999996</c:v>
                </c:pt>
                <c:pt idx="6">
                  <c:v>79.790940000000006</c:v>
                </c:pt>
                <c:pt idx="7">
                  <c:v>79.144390000000001</c:v>
                </c:pt>
                <c:pt idx="8">
                  <c:v>78.774910000000006</c:v>
                </c:pt>
                <c:pt idx="9">
                  <c:v>78.018799999999999</c:v>
                </c:pt>
                <c:pt idx="10">
                  <c:v>77.34008</c:v>
                </c:pt>
                <c:pt idx="11">
                  <c:v>75.557180000000002</c:v>
                </c:pt>
                <c:pt idx="12">
                  <c:v>72.559920000000005</c:v>
                </c:pt>
                <c:pt idx="13">
                  <c:v>71.752759999999995</c:v>
                </c:pt>
                <c:pt idx="14">
                  <c:v>70.9489399999999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F40-47DE-ACA1-8E4053576F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83764288"/>
        <c:axId val="50879584"/>
      </c:barChart>
      <c:catAx>
        <c:axId val="383764288"/>
        <c:scaling>
          <c:orientation val="maxMin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0879584"/>
        <c:crosses val="autoZero"/>
        <c:auto val="1"/>
        <c:lblAlgn val="ctr"/>
        <c:lblOffset val="100"/>
        <c:noMultiLvlLbl val="0"/>
      </c:catAx>
      <c:valAx>
        <c:axId val="50879584"/>
        <c:scaling>
          <c:orientation val="minMax"/>
          <c:max val="100"/>
        </c:scaling>
        <c:delete val="0"/>
        <c:axPos val="t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837642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1120061166082842"/>
          <c:y val="6.3054247171625041E-2"/>
          <c:w val="0.45963458745004687"/>
          <c:h val="0.9171773225713224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ostatní ZP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36</c:f>
              <c:strCache>
                <c:ptCount val="35"/>
                <c:pt idx="0">
                  <c:v>§ 42 Sanitář</c:v>
                </c:pt>
                <c:pt idx="1">
                  <c:v>§ 24 Fyzioterapeut</c:v>
                </c:pt>
                <c:pt idx="2">
                  <c:v>farmaceut</c:v>
                </c:pt>
                <c:pt idx="3">
                  <c:v>§ 19 Farmaceutický asistent</c:v>
                </c:pt>
                <c:pt idx="4">
                  <c:v>§ 9 Zdravotní laborant</c:v>
                </c:pt>
                <c:pt idx="5">
                  <c:v>§ 36 Ošetřovatel</c:v>
                </c:pt>
                <c:pt idx="6">
                  <c:v>§ 18 Zdravotnický záchranář</c:v>
                </c:pt>
                <c:pt idx="7">
                  <c:v>§ 39 Zubní instrumentářka</c:v>
                </c:pt>
                <c:pt idx="8">
                  <c:v>§ 8 Radiologický asistent</c:v>
                </c:pt>
                <c:pt idx="9">
                  <c:v>§ 16 Zubní technik</c:v>
                </c:pt>
                <c:pt idx="10">
                  <c:v>§ 26 Odborný pracovník v laboratorních metodách a v přípravě léčivých přípravků</c:v>
                </c:pt>
                <c:pt idx="11">
                  <c:v>§ 40 Řidič zdravotnické dopravní služby</c:v>
                </c:pt>
                <c:pt idx="12">
                  <c:v>§ 35 Řidič vozidla zdravotnické záchranné služby</c:v>
                </c:pt>
                <c:pt idx="13">
                  <c:v>§ 17 Dentální hygienistka</c:v>
                </c:pt>
                <c:pt idx="14">
                  <c:v>§ 37 Masér ve zdravotnictví, nevidomý a slabozraký masér ve zdravotnictví</c:v>
                </c:pt>
                <c:pt idx="15">
                  <c:v>§ 22 Psycholog ve zdravotnictví</c:v>
                </c:pt>
                <c:pt idx="16">
                  <c:v>§ 11 Optometrista</c:v>
                </c:pt>
                <c:pt idx="17">
                  <c:v>§ 10 Zdravotně-sociální pracovník</c:v>
                </c:pt>
                <c:pt idx="18">
                  <c:v>§ 15 Nutriční terapeut</c:v>
                </c:pt>
                <c:pt idx="19">
                  <c:v>§ 7 Ergoterapeut</c:v>
                </c:pt>
                <c:pt idx="20">
                  <c:v>§ 30 Laboratorní asistent</c:v>
                </c:pt>
                <c:pt idx="21">
                  <c:v>§ 23 Logoped ve zdravotnictví</c:v>
                </c:pt>
                <c:pt idx="22">
                  <c:v>§ 27 Biomedicínský inženýr</c:v>
                </c:pt>
                <c:pt idx="23">
                  <c:v>§ 33 Asistent zubního technika</c:v>
                </c:pt>
                <c:pt idx="24">
                  <c:v>§ 28 Odborný pracovník v ochraně a podpoře veřejného zdraví</c:v>
                </c:pt>
                <c:pt idx="25">
                  <c:v>§ 21a Adiktolog</c:v>
                </c:pt>
                <c:pt idx="26">
                  <c:v>§ 13 Asistent ochrany a podpory veřejného zdraví</c:v>
                </c:pt>
                <c:pt idx="27">
                  <c:v>§ 14 Ortotik-protetik</c:v>
                </c:pt>
                <c:pt idx="28">
                  <c:v>§ 20 Biomedicínský technik</c:v>
                </c:pt>
                <c:pt idx="29">
                  <c:v>§ 31 Ortoticko-protetický technik</c:v>
                </c:pt>
                <c:pt idx="30">
                  <c:v>§ 25 Radiologický fyzik</c:v>
                </c:pt>
                <c:pt idx="31">
                  <c:v>§ 32 Nutriční asistent</c:v>
                </c:pt>
                <c:pt idx="32">
                  <c:v>§ 12 Ortoptista</c:v>
                </c:pt>
                <c:pt idx="33">
                  <c:v>§ 21 Radiologický technik</c:v>
                </c:pt>
                <c:pt idx="34">
                  <c:v>§ 41 Autoptický laborant</c:v>
                </c:pt>
              </c:strCache>
            </c:strRef>
          </c:cat>
          <c:val>
            <c:numRef>
              <c:f>List1!$B$2:$B$36</c:f>
              <c:numCache>
                <c:formatCode>General</c:formatCode>
                <c:ptCount val="35"/>
                <c:pt idx="0">
                  <c:v>2313</c:v>
                </c:pt>
                <c:pt idx="1">
                  <c:v>919</c:v>
                </c:pt>
                <c:pt idx="2">
                  <c:v>773</c:v>
                </c:pt>
                <c:pt idx="3">
                  <c:v>656</c:v>
                </c:pt>
                <c:pt idx="4">
                  <c:v>629</c:v>
                </c:pt>
                <c:pt idx="5">
                  <c:v>520</c:v>
                </c:pt>
                <c:pt idx="6">
                  <c:v>367</c:v>
                </c:pt>
                <c:pt idx="7">
                  <c:v>348</c:v>
                </c:pt>
                <c:pt idx="8">
                  <c:v>293</c:v>
                </c:pt>
                <c:pt idx="9">
                  <c:v>263</c:v>
                </c:pt>
                <c:pt idx="10">
                  <c:v>225</c:v>
                </c:pt>
                <c:pt idx="11">
                  <c:v>221</c:v>
                </c:pt>
                <c:pt idx="12">
                  <c:v>175</c:v>
                </c:pt>
                <c:pt idx="13">
                  <c:v>127</c:v>
                </c:pt>
                <c:pt idx="14">
                  <c:v>115</c:v>
                </c:pt>
                <c:pt idx="15">
                  <c:v>110</c:v>
                </c:pt>
                <c:pt idx="16">
                  <c:v>82</c:v>
                </c:pt>
                <c:pt idx="17">
                  <c:v>81</c:v>
                </c:pt>
                <c:pt idx="18">
                  <c:v>81</c:v>
                </c:pt>
                <c:pt idx="19">
                  <c:v>73</c:v>
                </c:pt>
                <c:pt idx="20">
                  <c:v>66</c:v>
                </c:pt>
                <c:pt idx="21">
                  <c:v>51</c:v>
                </c:pt>
                <c:pt idx="22">
                  <c:v>35</c:v>
                </c:pt>
                <c:pt idx="23">
                  <c:v>21</c:v>
                </c:pt>
                <c:pt idx="24">
                  <c:v>19</c:v>
                </c:pt>
                <c:pt idx="25">
                  <c:v>16</c:v>
                </c:pt>
                <c:pt idx="26">
                  <c:v>13</c:v>
                </c:pt>
                <c:pt idx="27">
                  <c:v>12</c:v>
                </c:pt>
                <c:pt idx="28">
                  <c:v>9</c:v>
                </c:pt>
                <c:pt idx="29">
                  <c:v>7</c:v>
                </c:pt>
                <c:pt idx="30">
                  <c:v>6</c:v>
                </c:pt>
                <c:pt idx="31">
                  <c:v>5</c:v>
                </c:pt>
                <c:pt idx="32">
                  <c:v>4</c:v>
                </c:pt>
                <c:pt idx="33">
                  <c:v>1</c:v>
                </c:pt>
                <c:pt idx="3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EDC-4FEF-9A9E-83836E26FF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320460415"/>
        <c:axId val="315793487"/>
      </c:barChart>
      <c:catAx>
        <c:axId val="320460415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15793487"/>
        <c:crosses val="autoZero"/>
        <c:auto val="1"/>
        <c:lblAlgn val="ctr"/>
        <c:lblOffset val="100"/>
        <c:tickLblSkip val="1"/>
        <c:noMultiLvlLbl val="0"/>
      </c:catAx>
      <c:valAx>
        <c:axId val="315793487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20460415"/>
        <c:crosses val="autoZero"/>
        <c:crossBetween val="between"/>
        <c:majorUnit val="2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1120061166082842"/>
          <c:y val="6.3054247171625041E-2"/>
          <c:w val="0.45963458745004687"/>
          <c:h val="0.9171773225713224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ostatní ZP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23</c:f>
              <c:strCache>
                <c:ptCount val="22"/>
                <c:pt idx="0">
                  <c:v>§ 42 Sanitář</c:v>
                </c:pt>
                <c:pt idx="1">
                  <c:v>§ 24 Fyzioterapeut</c:v>
                </c:pt>
                <c:pt idx="2">
                  <c:v>§ 9 Zdravotní laborant</c:v>
                </c:pt>
                <c:pt idx="3">
                  <c:v>farmaceut</c:v>
                </c:pt>
                <c:pt idx="4">
                  <c:v>§ 18 Zdravotnický záchranář</c:v>
                </c:pt>
                <c:pt idx="5">
                  <c:v>§ 16 Zubní technik</c:v>
                </c:pt>
                <c:pt idx="6">
                  <c:v>§ 19 Farmaceutický asistent</c:v>
                </c:pt>
                <c:pt idx="7">
                  <c:v>§ 39 Zubní instrumentářka</c:v>
                </c:pt>
                <c:pt idx="8">
                  <c:v>§ 17 Dentální hygienistka</c:v>
                </c:pt>
                <c:pt idx="9">
                  <c:v>§ 22 Psycholog ve zdravotnictví</c:v>
                </c:pt>
                <c:pt idx="10">
                  <c:v>§ 36 Ošetřovatel</c:v>
                </c:pt>
                <c:pt idx="11">
                  <c:v>§ 7 Ergoterapeut</c:v>
                </c:pt>
                <c:pt idx="12">
                  <c:v>§ 8 Radiologický asistent</c:v>
                </c:pt>
                <c:pt idx="13">
                  <c:v>§ 20 Biomedicínský technik</c:v>
                </c:pt>
                <c:pt idx="14">
                  <c:v>§ 23 Logoped ve zdravotnictví</c:v>
                </c:pt>
                <c:pt idx="15">
                  <c:v>§ 35 Řidič vozidla zdravotnické záchranné služby</c:v>
                </c:pt>
                <c:pt idx="16">
                  <c:v>§ 10 Zdravotně-sociální pracovník</c:v>
                </c:pt>
                <c:pt idx="17">
                  <c:v>§ 11 Optometrista</c:v>
                </c:pt>
                <c:pt idx="18">
                  <c:v>§ 26 Odborný pracovník v laboratorních metodách a v přípravě léčivých přípravků</c:v>
                </c:pt>
                <c:pt idx="19">
                  <c:v>§ 28 Odborný pracovník v ochraně a podpoře veřejného zdraví</c:v>
                </c:pt>
                <c:pt idx="20">
                  <c:v>§ 37 Masér ve zdravotnictví, nevidomý a slabozraký masér ve zdravotnictví</c:v>
                </c:pt>
                <c:pt idx="21">
                  <c:v>§ 40 Řidič zdravotnické dopravní služby</c:v>
                </c:pt>
              </c:strCache>
            </c:strRef>
          </c:cat>
          <c:val>
            <c:numRef>
              <c:f>List1!$B$2:$B$23</c:f>
              <c:numCache>
                <c:formatCode>General</c:formatCode>
                <c:ptCount val="22"/>
                <c:pt idx="0">
                  <c:v>30</c:v>
                </c:pt>
                <c:pt idx="1">
                  <c:v>21</c:v>
                </c:pt>
                <c:pt idx="2">
                  <c:v>16</c:v>
                </c:pt>
                <c:pt idx="3">
                  <c:v>15</c:v>
                </c:pt>
                <c:pt idx="4">
                  <c:v>13</c:v>
                </c:pt>
                <c:pt idx="5">
                  <c:v>8</c:v>
                </c:pt>
                <c:pt idx="6">
                  <c:v>8</c:v>
                </c:pt>
                <c:pt idx="7">
                  <c:v>8</c:v>
                </c:pt>
                <c:pt idx="8">
                  <c:v>6</c:v>
                </c:pt>
                <c:pt idx="9">
                  <c:v>4</c:v>
                </c:pt>
                <c:pt idx="10">
                  <c:v>4</c:v>
                </c:pt>
                <c:pt idx="11">
                  <c:v>3</c:v>
                </c:pt>
                <c:pt idx="12">
                  <c:v>2</c:v>
                </c:pt>
                <c:pt idx="13">
                  <c:v>2</c:v>
                </c:pt>
                <c:pt idx="14">
                  <c:v>2</c:v>
                </c:pt>
                <c:pt idx="15">
                  <c:v>2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EDC-4FEF-9A9E-83836E26FF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320460415"/>
        <c:axId val="315793487"/>
      </c:barChart>
      <c:catAx>
        <c:axId val="320460415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15793487"/>
        <c:crosses val="autoZero"/>
        <c:auto val="1"/>
        <c:lblAlgn val="ctr"/>
        <c:lblOffset val="100"/>
        <c:tickLblSkip val="1"/>
        <c:noMultiLvlLbl val="0"/>
      </c:catAx>
      <c:valAx>
        <c:axId val="315793487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204604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10.10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1953481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1914962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7319544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6615066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500646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500646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448913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955331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4368077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7572051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2389165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283032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2893442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4888445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661728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3330937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8844982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6409036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384152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6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tmp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039226"/>
            <a:ext cx="11487705" cy="5587305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11FBEFA6-3CC9-4A8B-98AB-811AE091489A}"/>
              </a:ext>
            </a:extLst>
          </p:cNvPr>
          <p:cNvSpPr/>
          <p:nvPr userDrawn="1"/>
        </p:nvSpPr>
        <p:spPr>
          <a:xfrm>
            <a:off x="1" y="1"/>
            <a:ext cx="12192000" cy="79066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20" name="Nadpis 1">
            <a:extLst>
              <a:ext uri="{FF2B5EF4-FFF2-40B4-BE49-F238E27FC236}">
                <a16:creationId xmlns:a16="http://schemas.microsoft.com/office/drawing/2014/main" id="{C2747F8C-F296-41AB-B6E6-650FFEA011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1"/>
            <a:ext cx="5396696" cy="790667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9928806D-A537-4323-B4ED-4983696D2AF8}"/>
              </a:ext>
            </a:extLst>
          </p:cNvPr>
          <p:cNvGrpSpPr/>
          <p:nvPr userDrawn="1"/>
        </p:nvGrpSpPr>
        <p:grpSpPr>
          <a:xfrm>
            <a:off x="5972087" y="107328"/>
            <a:ext cx="6026262" cy="737003"/>
            <a:chOff x="5972087" y="329946"/>
            <a:chExt cx="6026262" cy="73700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FB2B0A03-1219-4FC5-81C7-A43DCB123A0C}"/>
                </a:ext>
              </a:extLst>
            </p:cNvPr>
            <p:cNvGrpSpPr/>
            <p:nvPr userDrawn="1"/>
          </p:nvGrpSpPr>
          <p:grpSpPr>
            <a:xfrm>
              <a:off x="8116661" y="349032"/>
              <a:ext cx="3881688" cy="450808"/>
              <a:chOff x="8214317" y="349032"/>
              <a:chExt cx="3881688" cy="450808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2E921148-1008-412D-AB36-245237C3D6B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88933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28" name="Obrázek 27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480755B3-A38B-4215-974C-50EA6F66494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49032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23" name="Grafický objekt 22">
              <a:extLst>
                <a:ext uri="{FF2B5EF4-FFF2-40B4-BE49-F238E27FC236}">
                  <a16:creationId xmlns:a16="http://schemas.microsoft.com/office/drawing/2014/main" id="{1A14BE4F-72B2-49A1-B4A4-7983F7AE574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4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délník 10">
            <a:extLst>
              <a:ext uri="{FF2B5EF4-FFF2-40B4-BE49-F238E27FC236}">
                <a16:creationId xmlns:a16="http://schemas.microsoft.com/office/drawing/2014/main" id="{DC58920C-B9EC-4A94-B9EB-451592F3EED9}"/>
              </a:ext>
            </a:extLst>
          </p:cNvPr>
          <p:cNvSpPr/>
          <p:nvPr userDrawn="1"/>
        </p:nvSpPr>
        <p:spPr>
          <a:xfrm>
            <a:off x="1" y="1"/>
            <a:ext cx="12192000" cy="79066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2" name="Nadpis 1">
            <a:extLst>
              <a:ext uri="{FF2B5EF4-FFF2-40B4-BE49-F238E27FC236}">
                <a16:creationId xmlns:a16="http://schemas.microsoft.com/office/drawing/2014/main" id="{A3C58891-14E6-4818-B969-C72F93F087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1"/>
            <a:ext cx="5396696" cy="790667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4B49FBB4-BF51-45C2-86CA-B4502DA62936}"/>
              </a:ext>
            </a:extLst>
          </p:cNvPr>
          <p:cNvGrpSpPr/>
          <p:nvPr userDrawn="1"/>
        </p:nvGrpSpPr>
        <p:grpSpPr>
          <a:xfrm>
            <a:off x="5972087" y="107328"/>
            <a:ext cx="6026262" cy="737003"/>
            <a:chOff x="5972087" y="329946"/>
            <a:chExt cx="6026262" cy="737003"/>
          </a:xfrm>
        </p:grpSpPr>
        <p:grpSp>
          <p:nvGrpSpPr>
            <p:cNvPr id="14" name="Skupina 13">
              <a:extLst>
                <a:ext uri="{FF2B5EF4-FFF2-40B4-BE49-F238E27FC236}">
                  <a16:creationId xmlns:a16="http://schemas.microsoft.com/office/drawing/2014/main" id="{1533BE81-CFEE-48A9-AF03-143EC513CB79}"/>
                </a:ext>
              </a:extLst>
            </p:cNvPr>
            <p:cNvGrpSpPr/>
            <p:nvPr userDrawn="1"/>
          </p:nvGrpSpPr>
          <p:grpSpPr>
            <a:xfrm>
              <a:off x="8116661" y="349032"/>
              <a:ext cx="3881688" cy="450808"/>
              <a:chOff x="8214317" y="349032"/>
              <a:chExt cx="3881688" cy="450808"/>
            </a:xfrm>
          </p:grpSpPr>
          <p:pic>
            <p:nvPicPr>
              <p:cNvPr id="17" name="Grafický objekt 16">
                <a:extLst>
                  <a:ext uri="{FF2B5EF4-FFF2-40B4-BE49-F238E27FC236}">
                    <a16:creationId xmlns:a16="http://schemas.microsoft.com/office/drawing/2014/main" id="{2BA1D09A-64DD-4910-BF60-CC7075472A8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88933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18" name="Obrázek 17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3A04F306-61D6-499B-9F34-24714C7AFEA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49032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15" name="Grafický objekt 14">
              <a:extLst>
                <a:ext uri="{FF2B5EF4-FFF2-40B4-BE49-F238E27FC236}">
                  <a16:creationId xmlns:a16="http://schemas.microsoft.com/office/drawing/2014/main" id="{62747C58-6152-448D-9270-C4FE61C51FC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aln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délník 7">
            <a:extLst>
              <a:ext uri="{FF2B5EF4-FFF2-40B4-BE49-F238E27FC236}">
                <a16:creationId xmlns:a16="http://schemas.microsoft.com/office/drawing/2014/main" id="{57251005-B581-4C6B-9623-FE7C9E672C61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9" name="Nadpis 1">
            <a:extLst>
              <a:ext uri="{FF2B5EF4-FFF2-40B4-BE49-F238E27FC236}">
                <a16:creationId xmlns:a16="http://schemas.microsoft.com/office/drawing/2014/main" id="{2ABA8342-40EF-4EF8-878F-E756BF1AAB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EC133C2D-E49B-4A76-8E4C-79637436790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102342" y="93094"/>
            <a:ext cx="4017507" cy="504000"/>
            <a:chOff x="5972087" y="329946"/>
            <a:chExt cx="6026262" cy="737003"/>
          </a:xfrm>
        </p:grpSpPr>
        <p:grpSp>
          <p:nvGrpSpPr>
            <p:cNvPr id="12" name="Skupina 11">
              <a:extLst>
                <a:ext uri="{FF2B5EF4-FFF2-40B4-BE49-F238E27FC236}">
                  <a16:creationId xmlns:a16="http://schemas.microsoft.com/office/drawing/2014/main" id="{7B0E7EF1-130B-4AF3-9B9B-F57B675459BE}"/>
                </a:ext>
              </a:extLst>
            </p:cNvPr>
            <p:cNvGrpSpPr/>
            <p:nvPr userDrawn="1"/>
          </p:nvGrpSpPr>
          <p:grpSpPr>
            <a:xfrm>
              <a:off x="8116661" y="331276"/>
              <a:ext cx="3881688" cy="450808"/>
              <a:chOff x="8214317" y="331276"/>
              <a:chExt cx="3881688" cy="450808"/>
            </a:xfrm>
          </p:grpSpPr>
          <p:pic>
            <p:nvPicPr>
              <p:cNvPr id="14" name="Grafický objekt 13">
                <a:extLst>
                  <a:ext uri="{FF2B5EF4-FFF2-40B4-BE49-F238E27FC236}">
                    <a16:creationId xmlns:a16="http://schemas.microsoft.com/office/drawing/2014/main" id="{5A70A0E6-773C-4F6E-853C-28A61AEF1D8E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71177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15" name="Obrázek 14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7F95AEA6-4367-4B52-93A3-3068041EC41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31276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ABAFA576-D9BF-4267-9BD2-2B78AD34E65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054070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68312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0520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63" r:id="rId3"/>
    <p:sldLayoutId id="2147483661" r:id="rId4"/>
    <p:sldLayoutId id="2147483665" r:id="rId5"/>
    <p:sldLayoutId id="2147483672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Relationship Id="rId4" Type="http://schemas.openxmlformats.org/officeDocument/2006/relationships/chart" Target="../charts/char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900347"/>
            <a:ext cx="12192000" cy="153429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ouhrnný přehled stavu očkování: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zdravotničtí pracovníci </a:t>
            </a: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11904359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822EB337-8A4F-4192-8045-A32983D6BECD}"/>
              </a:ext>
            </a:extLst>
          </p:cNvPr>
          <p:cNvGraphicFramePr>
            <a:graphicFrameLocks noGrp="1"/>
          </p:cNvGraphicFramePr>
          <p:nvPr/>
        </p:nvGraphicFramePr>
        <p:xfrm>
          <a:off x="9296400" y="1999780"/>
          <a:ext cx="1838768" cy="3993135"/>
        </p:xfrm>
        <a:graphic>
          <a:graphicData uri="http://schemas.openxmlformats.org/drawingml/2006/table">
            <a:tbl>
              <a:tblPr/>
              <a:tblGrid>
                <a:gridCol w="1838768">
                  <a:extLst>
                    <a:ext uri="{9D8B030D-6E8A-4147-A177-3AD203B41FA5}">
                      <a16:colId xmlns:a16="http://schemas.microsoft.com/office/drawing/2014/main" val="1443705670"/>
                    </a:ext>
                  </a:extLst>
                </a:gridCol>
              </a:tblGrid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4679659"/>
                  </a:ext>
                </a:extLst>
              </a:tr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7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027953"/>
                  </a:ext>
                </a:extLst>
              </a:tr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4C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193802"/>
                  </a:ext>
                </a:extLst>
              </a:tr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8082050"/>
                  </a:ext>
                </a:extLst>
              </a:tr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6987507"/>
                  </a:ext>
                </a:extLst>
              </a:tr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7335051"/>
                  </a:ext>
                </a:extLst>
              </a:tr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0468830"/>
                  </a:ext>
                </a:extLst>
              </a:tr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49307665"/>
                  </a:ext>
                </a:extLst>
              </a:tr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2549316"/>
                  </a:ext>
                </a:extLst>
              </a:tr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2591040"/>
                  </a:ext>
                </a:extLst>
              </a:tr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7A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5955870"/>
                  </a:ext>
                </a:extLst>
              </a:tr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FC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04439667"/>
                  </a:ext>
                </a:extLst>
              </a:tr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BD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1542503"/>
                  </a:ext>
                </a:extLst>
              </a:tr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C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6027339"/>
                  </a:ext>
                </a:extLst>
              </a:tr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57884949"/>
                  </a:ext>
                </a:extLst>
              </a:tr>
            </a:tbl>
          </a:graphicData>
        </a:graphic>
      </p:graphicFrame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pracovníků ve zdravotnictví (ZP) s nákazou COVID-19</a:t>
            </a: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7C1367ED-B273-4E58-BBB3-AD1B81F63A12}"/>
              </a:ext>
            </a:extLst>
          </p:cNvPr>
          <p:cNvGraphicFramePr>
            <a:graphicFrameLocks noGrp="1"/>
          </p:cNvGraphicFramePr>
          <p:nvPr/>
        </p:nvGraphicFramePr>
        <p:xfrm>
          <a:off x="1093858" y="1238720"/>
          <a:ext cx="10041310" cy="4754200"/>
        </p:xfrm>
        <a:graphic>
          <a:graphicData uri="http://schemas.openxmlformats.org/drawingml/2006/table">
            <a:tbl>
              <a:tblPr/>
              <a:tblGrid>
                <a:gridCol w="2694402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1836727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1836727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1836727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1836727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763945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Počet celkem 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(*z toho v nemocnicích akutní lůžkové péče / ambulance PL, PLDD, PL gynekolog / ambulance zubního lékaře)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esterská povolání 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(§ 5 Všeobecná sestra, § 5a Dětská sestra, § 6 Porodní asistentka, § 21b Praktická sestra)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4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3 / 2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3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10 / 2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4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3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7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- / -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2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3 / -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-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-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3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5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3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11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4 / 1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- / -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5 / 1 / 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 / 1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3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4 / 1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3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8 / 2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6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7 / 2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12 / 1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 (32 / 5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 (17 / - / 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2 (61 / 6 / 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  <p:sp>
        <p:nvSpPr>
          <p:cNvPr id="6" name="Obdélník 4">
            <a:extLst>
              <a:ext uri="{FF2B5EF4-FFF2-40B4-BE49-F238E27FC236}">
                <a16:creationId xmlns:a16="http://schemas.microsoft.com/office/drawing/2014/main" id="{CF4F4DD4-5D05-4AA4-B6B7-30E2E7BF4344}"/>
              </a:ext>
            </a:extLst>
          </p:cNvPr>
          <p:cNvSpPr/>
          <p:nvPr/>
        </p:nvSpPr>
        <p:spPr>
          <a:xfrm>
            <a:off x="609693" y="724725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nově COVID-19 pozitivních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za 7denní období 1. 10. – 7. 10. 2021 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7DA84AC6-10F0-4D41-9F1A-6572994DE132}"/>
              </a:ext>
            </a:extLst>
          </p:cNvPr>
          <p:cNvSpPr txBox="1"/>
          <p:nvPr/>
        </p:nvSpPr>
        <p:spPr>
          <a:xfrm>
            <a:off x="3707125" y="6081831"/>
            <a:ext cx="70547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dirty="0"/>
              <a:t>Barevné škály vizualizují rozsah hodnot v územích v rámci sledovaného ukazatele (sloupce)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648325E5-F71A-402A-B781-52C4AA1B55C4}"/>
              </a:ext>
            </a:extLst>
          </p:cNvPr>
          <p:cNvSpPr txBox="1"/>
          <p:nvPr/>
        </p:nvSpPr>
        <p:spPr>
          <a:xfrm>
            <a:off x="1495631" y="6316806"/>
            <a:ext cx="93831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* zdravotničtí pracovníci mohou být zaměstnáni ve více typech zdravotnických zařízení a jsou pak započítáni do každé příslušné skupiny</a:t>
            </a:r>
          </a:p>
        </p:txBody>
      </p:sp>
      <p:grpSp>
        <p:nvGrpSpPr>
          <p:cNvPr id="17" name="Skupina 16">
            <a:extLst>
              <a:ext uri="{FF2B5EF4-FFF2-40B4-BE49-F238E27FC236}">
                <a16:creationId xmlns:a16="http://schemas.microsoft.com/office/drawing/2014/main" id="{747C38F7-A7F7-4B0C-9D0A-01511E1A6161}"/>
              </a:ext>
            </a:extLst>
          </p:cNvPr>
          <p:cNvGrpSpPr/>
          <p:nvPr/>
        </p:nvGrpSpPr>
        <p:grpSpPr>
          <a:xfrm>
            <a:off x="1592578" y="6134593"/>
            <a:ext cx="2143122" cy="171474"/>
            <a:chOff x="2185672" y="6586960"/>
            <a:chExt cx="2143122" cy="171474"/>
          </a:xfrm>
        </p:grpSpPr>
        <p:sp>
          <p:nvSpPr>
            <p:cNvPr id="18" name="TextovéPole 17">
              <a:extLst>
                <a:ext uri="{FF2B5EF4-FFF2-40B4-BE49-F238E27FC236}">
                  <a16:creationId xmlns:a16="http://schemas.microsoft.com/office/drawing/2014/main" id="{159EDEC4-9347-43EC-A452-533F0BDD4739}"/>
                </a:ext>
              </a:extLst>
            </p:cNvPr>
            <p:cNvSpPr txBox="1"/>
            <p:nvPr/>
          </p:nvSpPr>
          <p:spPr>
            <a:xfrm>
              <a:off x="2185672" y="6586960"/>
              <a:ext cx="2143122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cs-CZ" sz="1000" dirty="0"/>
                <a:t>min %                                    max %</a:t>
              </a:r>
            </a:p>
          </p:txBody>
        </p:sp>
        <p:pic>
          <p:nvPicPr>
            <p:cNvPr id="19" name="Obrázek 18">
              <a:extLst>
                <a:ext uri="{FF2B5EF4-FFF2-40B4-BE49-F238E27FC236}">
                  <a16:creationId xmlns:a16="http://schemas.microsoft.com/office/drawing/2014/main" id="{67B50C2A-82CD-4E17-A551-738737906C9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653291" y="6586960"/>
              <a:ext cx="1190791" cy="17147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6100071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ání zdravotnických pracovníků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856A4F3-4E68-4416-AC19-AF13BC48D3B9}"/>
              </a:ext>
            </a:extLst>
          </p:cNvPr>
          <p:cNvSpPr txBox="1"/>
          <p:nvPr/>
        </p:nvSpPr>
        <p:spPr>
          <a:xfrm>
            <a:off x="5390575" y="102272"/>
            <a:ext cx="27062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10. 9. 2021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169149" y="1996486"/>
            <a:ext cx="11853702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ysoká úroveň proočkovanosti je patrná u pracovníků v akutní lůžkové péči a v záchranné zdravotnické službě: lékaři 86 % a sestry 79 %. </a:t>
            </a:r>
            <a:r>
              <a:rPr kumimoji="0" lang="cs-CZ" sz="32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řest</a:t>
            </a:r>
            <a:r>
              <a:rPr lang="cs-CZ" sz="3200" b="1" dirty="0">
                <a:latin typeface="Arial" panose="020B0604020202020204"/>
              </a:rPr>
              <a:t>o i v této kategorii existuje prostor k posílení očkování, zejména v některých moravských regionech. </a:t>
            </a:r>
            <a:endParaRPr kumimoji="0" lang="cs-CZ" sz="3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Šipka dolů 10"/>
          <p:cNvSpPr/>
          <p:nvPr/>
        </p:nvSpPr>
        <p:spPr>
          <a:xfrm>
            <a:off x="5390575" y="4652888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490957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037065" cy="576000"/>
          </a:xfrm>
        </p:spPr>
        <p:txBody>
          <a:bodyPr/>
          <a:lstStyle/>
          <a:p>
            <a:r>
              <a:rPr lang="cs-CZ" dirty="0"/>
              <a:t>Očkovaní zdravotníci v nemocnicích akutní lůžkové péče a ZZS</a:t>
            </a:r>
          </a:p>
        </p:txBody>
      </p:sp>
      <p:graphicFrame>
        <p:nvGraphicFramePr>
          <p:cNvPr id="9" name="Chart 6">
            <a:extLst>
              <a:ext uri="{FF2B5EF4-FFF2-40B4-BE49-F238E27FC236}">
                <a16:creationId xmlns:a16="http://schemas.microsoft.com/office/drawing/2014/main" id="{95B21923-74CC-4971-8ACF-75603B949F8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06485594"/>
              </p:ext>
            </p:extLst>
          </p:nvPr>
        </p:nvGraphicFramePr>
        <p:xfrm>
          <a:off x="10136" y="1281717"/>
          <a:ext cx="5060115" cy="51184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extBox 7">
            <a:extLst>
              <a:ext uri="{FF2B5EF4-FFF2-40B4-BE49-F238E27FC236}">
                <a16:creationId xmlns:a16="http://schemas.microsoft.com/office/drawing/2014/main" id="{859ED9E0-6A53-405A-BD02-85A115DFB578}"/>
              </a:ext>
            </a:extLst>
          </p:cNvPr>
          <p:cNvSpPr txBox="1"/>
          <p:nvPr/>
        </p:nvSpPr>
        <p:spPr>
          <a:xfrm>
            <a:off x="1653004" y="1079435"/>
            <a:ext cx="31761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b="1" dirty="0"/>
              <a:t>Podíl vakcinovaných (%)</a:t>
            </a:r>
          </a:p>
        </p:txBody>
      </p:sp>
      <p:graphicFrame>
        <p:nvGraphicFramePr>
          <p:cNvPr id="12" name="Tabulka 11">
            <a:extLst>
              <a:ext uri="{FF2B5EF4-FFF2-40B4-BE49-F238E27FC236}">
                <a16:creationId xmlns:a16="http://schemas.microsoft.com/office/drawing/2014/main" id="{8DE006A4-47CC-483A-94C2-37A91796F02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51593900"/>
              </p:ext>
            </p:extLst>
          </p:nvPr>
        </p:nvGraphicFramePr>
        <p:xfrm>
          <a:off x="5070251" y="1245141"/>
          <a:ext cx="1013589" cy="5010075"/>
        </p:xfrm>
        <a:graphic>
          <a:graphicData uri="http://schemas.openxmlformats.org/drawingml/2006/table">
            <a:tbl>
              <a:tblPr/>
              <a:tblGrid>
                <a:gridCol w="1013589">
                  <a:extLst>
                    <a:ext uri="{9D8B030D-6E8A-4147-A177-3AD203B41FA5}">
                      <a16:colId xmlns:a16="http://schemas.microsoft.com/office/drawing/2014/main" val="1754736106"/>
                    </a:ext>
                  </a:extLst>
                </a:gridCol>
              </a:tblGrid>
              <a:tr h="2972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očkova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78743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8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136238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0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8109056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9019969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9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621748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534323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53104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0588264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0276534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81722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 0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247165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5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265956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9396529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36740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782957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0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7793540"/>
                  </a:ext>
                </a:extLst>
              </a:tr>
            </a:tbl>
          </a:graphicData>
        </a:graphic>
      </p:graphicFrame>
      <p:sp>
        <p:nvSpPr>
          <p:cNvPr id="13" name="Obdélník 12">
            <a:extLst>
              <a:ext uri="{FF2B5EF4-FFF2-40B4-BE49-F238E27FC236}">
                <a16:creationId xmlns:a16="http://schemas.microsoft.com/office/drawing/2014/main" id="{A045BA81-95DE-42BA-99D6-CBB4DCCC5501}"/>
              </a:ext>
            </a:extLst>
          </p:cNvPr>
          <p:cNvSpPr/>
          <p:nvPr/>
        </p:nvSpPr>
        <p:spPr>
          <a:xfrm>
            <a:off x="172060" y="6354140"/>
            <a:ext cx="8105165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dirty="0"/>
              <a:t>Do analýzy jsou zahrnuti pouze zdravotničtí pracovníci nahlášení poskytovateli zdravotnických služeb jako aktuálně zaměstnaní.</a:t>
            </a:r>
          </a:p>
          <a:p>
            <a:r>
              <a:rPr lang="cs-CZ" sz="1100" dirty="0"/>
              <a:t>Zdroj: Národní registr zdravotnických pracovníků (NRZP), ÚZIS ČR; Informační systém infekční nemoci (ISIN) </a:t>
            </a:r>
          </a:p>
        </p:txBody>
      </p:sp>
      <p:sp>
        <p:nvSpPr>
          <p:cNvPr id="14" name="TextBox 7">
            <a:extLst>
              <a:ext uri="{FF2B5EF4-FFF2-40B4-BE49-F238E27FC236}">
                <a16:creationId xmlns:a16="http://schemas.microsoft.com/office/drawing/2014/main" id="{F1F59839-6B54-4C6A-814C-0F7D2FA4596F}"/>
              </a:ext>
            </a:extLst>
          </p:cNvPr>
          <p:cNvSpPr txBox="1"/>
          <p:nvPr/>
        </p:nvSpPr>
        <p:spPr>
          <a:xfrm>
            <a:off x="267310" y="725400"/>
            <a:ext cx="53333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Lékaři </a:t>
            </a:r>
            <a:r>
              <a:rPr lang="cs-CZ" sz="1400" dirty="0"/>
              <a:t>(včetně zubních lékařů)</a:t>
            </a:r>
            <a:endParaRPr lang="cs-CZ" dirty="0"/>
          </a:p>
        </p:txBody>
      </p:sp>
      <p:graphicFrame>
        <p:nvGraphicFramePr>
          <p:cNvPr id="15" name="Chart 6">
            <a:extLst>
              <a:ext uri="{FF2B5EF4-FFF2-40B4-BE49-F238E27FC236}">
                <a16:creationId xmlns:a16="http://schemas.microsoft.com/office/drawing/2014/main" id="{04728811-3D14-4440-A95A-65B5E4851AE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54670587"/>
              </p:ext>
            </p:extLst>
          </p:nvPr>
        </p:nvGraphicFramePr>
        <p:xfrm>
          <a:off x="6185074" y="1281717"/>
          <a:ext cx="5060115" cy="51184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6" name="TextBox 7">
            <a:extLst>
              <a:ext uri="{FF2B5EF4-FFF2-40B4-BE49-F238E27FC236}">
                <a16:creationId xmlns:a16="http://schemas.microsoft.com/office/drawing/2014/main" id="{68CBEAFC-AB11-4E0B-8467-5B7AAE3834DA}"/>
              </a:ext>
            </a:extLst>
          </p:cNvPr>
          <p:cNvSpPr txBox="1"/>
          <p:nvPr/>
        </p:nvSpPr>
        <p:spPr>
          <a:xfrm>
            <a:off x="7827942" y="1079435"/>
            <a:ext cx="31761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b="1" dirty="0"/>
              <a:t>Podíl vakcinovaných (%)</a:t>
            </a:r>
          </a:p>
        </p:txBody>
      </p:sp>
      <p:graphicFrame>
        <p:nvGraphicFramePr>
          <p:cNvPr id="17" name="Tabulka 16">
            <a:extLst>
              <a:ext uri="{FF2B5EF4-FFF2-40B4-BE49-F238E27FC236}">
                <a16:creationId xmlns:a16="http://schemas.microsoft.com/office/drawing/2014/main" id="{38E50632-3864-418D-91C6-3A9FEBF812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04870583"/>
              </p:ext>
            </p:extLst>
          </p:nvPr>
        </p:nvGraphicFramePr>
        <p:xfrm>
          <a:off x="11181969" y="1244893"/>
          <a:ext cx="950976" cy="5010075"/>
        </p:xfrm>
        <a:graphic>
          <a:graphicData uri="http://schemas.openxmlformats.org/drawingml/2006/table">
            <a:tbl>
              <a:tblPr/>
              <a:tblGrid>
                <a:gridCol w="950976">
                  <a:extLst>
                    <a:ext uri="{9D8B030D-6E8A-4147-A177-3AD203B41FA5}">
                      <a16:colId xmlns:a16="http://schemas.microsoft.com/office/drawing/2014/main" val="1754736106"/>
                    </a:ext>
                  </a:extLst>
                </a:gridCol>
              </a:tblGrid>
              <a:tr h="2972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očkova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78743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136238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8109056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9019969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69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621748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8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534323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53104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0588264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0276534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 4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81722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247165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5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265956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9396529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87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36740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0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782957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7793540"/>
                  </a:ext>
                </a:extLst>
              </a:tr>
            </a:tbl>
          </a:graphicData>
        </a:graphic>
      </p:graphicFrame>
      <p:sp>
        <p:nvSpPr>
          <p:cNvPr id="18" name="TextBox 7">
            <a:extLst>
              <a:ext uri="{FF2B5EF4-FFF2-40B4-BE49-F238E27FC236}">
                <a16:creationId xmlns:a16="http://schemas.microsoft.com/office/drawing/2014/main" id="{0A250D1E-21AE-452B-8E14-DA72C406298D}"/>
              </a:ext>
            </a:extLst>
          </p:cNvPr>
          <p:cNvSpPr txBox="1"/>
          <p:nvPr/>
        </p:nvSpPr>
        <p:spPr>
          <a:xfrm>
            <a:off x="6442248" y="725400"/>
            <a:ext cx="53333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Sestry*</a:t>
            </a:r>
            <a:endParaRPr lang="cs-CZ" dirty="0"/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9FD5F7F0-9879-44F5-8A51-0926E63C659F}"/>
              </a:ext>
            </a:extLst>
          </p:cNvPr>
          <p:cNvSpPr/>
          <p:nvPr/>
        </p:nvSpPr>
        <p:spPr>
          <a:xfrm>
            <a:off x="8410574" y="6354140"/>
            <a:ext cx="3429002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b="1" dirty="0"/>
              <a:t>*Sestry</a:t>
            </a:r>
            <a:r>
              <a:rPr lang="cs-CZ" sz="1100" dirty="0"/>
              <a:t> - § 5 Všeobecná sestra, § 5a Dětská sestra, § 6 Porodní asistentka, § 21b Praktická sestra</a:t>
            </a:r>
          </a:p>
        </p:txBody>
      </p:sp>
      <p:sp>
        <p:nvSpPr>
          <p:cNvPr id="20" name="TextBox 6">
            <a:extLst>
              <a:ext uri="{FF2B5EF4-FFF2-40B4-BE49-F238E27FC236}">
                <a16:creationId xmlns:a16="http://schemas.microsoft.com/office/drawing/2014/main" id="{0D1107EB-D187-4678-AF28-2A18CAE50957}"/>
              </a:ext>
            </a:extLst>
          </p:cNvPr>
          <p:cNvSpPr txBox="1"/>
          <p:nvPr/>
        </p:nvSpPr>
        <p:spPr>
          <a:xfrm>
            <a:off x="5427835" y="596549"/>
            <a:ext cx="20097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400" b="1" dirty="0"/>
              <a:t>Stav k 9. 10. 2021</a:t>
            </a:r>
          </a:p>
        </p:txBody>
      </p:sp>
    </p:spTree>
    <p:extLst>
      <p:ext uri="{BB962C8B-B14F-4D97-AF65-F5344CB8AC3E}">
        <p14:creationId xmlns:p14="http://schemas.microsoft.com/office/powerpoint/2010/main" val="43482787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ání zdravotnických pracovníků 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552450" y="833301"/>
            <a:ext cx="11039475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zi skupinami zdravotnických pracovníků je nejnižší proočkovanost u nelékařských zdravotnických pracovníků, která dosahuje 76 %.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173256" y="3241554"/>
            <a:ext cx="11853702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př. profese sanitáře a fyzioterapeuta patřila mezi nejčastěji nakažené, jak dokládají reprezentativní data. Přitom jde o pracovníky s velkým počtem kontaktů ve zdravotnických zařízeních. Posílení očkování i u těchto zdravotnických profesí je potřebné. </a:t>
            </a:r>
          </a:p>
        </p:txBody>
      </p:sp>
      <p:sp>
        <p:nvSpPr>
          <p:cNvPr id="11" name="Šipka dolů 10"/>
          <p:cNvSpPr/>
          <p:nvPr/>
        </p:nvSpPr>
        <p:spPr>
          <a:xfrm>
            <a:off x="5289224" y="6024699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Šipka dolů 11"/>
          <p:cNvSpPr/>
          <p:nvPr/>
        </p:nvSpPr>
        <p:spPr>
          <a:xfrm>
            <a:off x="5289224" y="2568347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33007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Graf 17">
            <a:extLst>
              <a:ext uri="{FF2B5EF4-FFF2-40B4-BE49-F238E27FC236}">
                <a16:creationId xmlns:a16="http://schemas.microsoft.com/office/drawing/2014/main" id="{67714BB1-BEFB-4B6A-BA4B-87D00EC0BC8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82292785"/>
              </p:ext>
            </p:extLst>
          </p:nvPr>
        </p:nvGraphicFramePr>
        <p:xfrm>
          <a:off x="40511" y="729673"/>
          <a:ext cx="11855235" cy="5867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D287B611-02D0-49D2-B339-A7B816C3C828}"/>
              </a:ext>
            </a:extLst>
          </p:cNvPr>
          <p:cNvSpPr txBox="1"/>
          <p:nvPr/>
        </p:nvSpPr>
        <p:spPr>
          <a:xfrm>
            <a:off x="2162175" y="6583202"/>
            <a:ext cx="76654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stém, ISIN – Informační systém infekční nemocí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CE02CAE-4282-4A4F-990C-53954F77C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557303" cy="576000"/>
          </a:xfrm>
        </p:spPr>
        <p:txBody>
          <a:bodyPr/>
          <a:lstStyle/>
          <a:p>
            <a:r>
              <a:rPr lang="cs-CZ" dirty="0"/>
              <a:t>Přehled povolání u COVID-19 pozitivních ostatních zdravotnických pracovníků za období 01-10 / 2021 k 7. 10.</a:t>
            </a: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FDB5357A-74B2-4F73-9151-19DFF199B935}"/>
              </a:ext>
            </a:extLst>
          </p:cNvPr>
          <p:cNvSpPr/>
          <p:nvPr/>
        </p:nvSpPr>
        <p:spPr>
          <a:xfrm>
            <a:off x="261654" y="846827"/>
            <a:ext cx="38010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ty známých pracovních pozic</a:t>
            </a:r>
          </a:p>
        </p:txBody>
      </p:sp>
      <p:sp>
        <p:nvSpPr>
          <p:cNvPr id="8" name="TextBox 6">
            <a:extLst>
              <a:ext uri="{FF2B5EF4-FFF2-40B4-BE49-F238E27FC236}">
                <a16:creationId xmlns:a16="http://schemas.microsoft.com/office/drawing/2014/main" id="{0553929A-22E7-4A3C-B2A6-F2301789E83D}"/>
              </a:ext>
            </a:extLst>
          </p:cNvPr>
          <p:cNvSpPr txBox="1"/>
          <p:nvPr/>
        </p:nvSpPr>
        <p:spPr>
          <a:xfrm>
            <a:off x="9847292" y="6560118"/>
            <a:ext cx="20097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200" b="1" dirty="0"/>
              <a:t>Stav k 7. 10. 2021</a:t>
            </a:r>
          </a:p>
        </p:txBody>
      </p:sp>
    </p:spTree>
    <p:extLst>
      <p:ext uri="{BB962C8B-B14F-4D97-AF65-F5344CB8AC3E}">
        <p14:creationId xmlns:p14="http://schemas.microsoft.com/office/powerpoint/2010/main" val="111974865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Graf 17">
            <a:extLst>
              <a:ext uri="{FF2B5EF4-FFF2-40B4-BE49-F238E27FC236}">
                <a16:creationId xmlns:a16="http://schemas.microsoft.com/office/drawing/2014/main" id="{67714BB1-BEFB-4B6A-BA4B-87D00EC0BC8B}"/>
              </a:ext>
            </a:extLst>
          </p:cNvPr>
          <p:cNvGraphicFramePr/>
          <p:nvPr/>
        </p:nvGraphicFramePr>
        <p:xfrm>
          <a:off x="40511" y="729673"/>
          <a:ext cx="11855235" cy="5867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D287B611-02D0-49D2-B339-A7B816C3C828}"/>
              </a:ext>
            </a:extLst>
          </p:cNvPr>
          <p:cNvSpPr txBox="1"/>
          <p:nvPr/>
        </p:nvSpPr>
        <p:spPr>
          <a:xfrm>
            <a:off x="2162175" y="6583202"/>
            <a:ext cx="76654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stém, ISIN – Informační systém infekční nemocí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CE02CAE-4282-4A4F-990C-53954F77C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557303" cy="576000"/>
          </a:xfrm>
        </p:spPr>
        <p:txBody>
          <a:bodyPr/>
          <a:lstStyle/>
          <a:p>
            <a:r>
              <a:rPr lang="cs-CZ" dirty="0"/>
              <a:t>Přehled povolání u COVID-19 pozitivních ostatních zdravotnických pracovníků za období 09-10 / 2021 k 7. 10.</a:t>
            </a: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FDB5357A-74B2-4F73-9151-19DFF199B935}"/>
              </a:ext>
            </a:extLst>
          </p:cNvPr>
          <p:cNvSpPr/>
          <p:nvPr/>
        </p:nvSpPr>
        <p:spPr>
          <a:xfrm>
            <a:off x="261654" y="846827"/>
            <a:ext cx="38010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ty známých pracovních pozic</a:t>
            </a: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CE819702-3927-4B90-94FB-62346EEA34F0}"/>
              </a:ext>
            </a:extLst>
          </p:cNvPr>
          <p:cNvSpPr txBox="1"/>
          <p:nvPr/>
        </p:nvSpPr>
        <p:spPr>
          <a:xfrm>
            <a:off x="9847292" y="6560118"/>
            <a:ext cx="20097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200" b="1" dirty="0"/>
              <a:t>Stav k 7. 10. 2021</a:t>
            </a:r>
          </a:p>
        </p:txBody>
      </p:sp>
    </p:spTree>
    <p:extLst>
      <p:ext uri="{BB962C8B-B14F-4D97-AF65-F5344CB8AC3E}">
        <p14:creationId xmlns:p14="http://schemas.microsoft.com/office/powerpoint/2010/main" val="70485201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aktivní zdravotničtí pracovníci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42488E7D-BBBA-434F-B593-669897479465}"/>
              </a:ext>
            </a:extLst>
          </p:cNvPr>
          <p:cNvSpPr/>
          <p:nvPr/>
        </p:nvSpPr>
        <p:spPr>
          <a:xfrm>
            <a:off x="1733551" y="6556521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B5F8F24A-407C-46C2-BF8F-7094A798CF34}"/>
              </a:ext>
            </a:extLst>
          </p:cNvPr>
          <p:cNvSpPr/>
          <p:nvPr/>
        </p:nvSpPr>
        <p:spPr>
          <a:xfrm>
            <a:off x="331021" y="5689889"/>
            <a:ext cx="1145410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>
              <a:defRPr/>
            </a:pPr>
            <a:r>
              <a:rPr lang="cs-CZ" sz="1100" dirty="0">
                <a:solidFill>
                  <a:srgbClr val="000000"/>
                </a:solidFill>
              </a:rPr>
              <a:t>** Počet zdravotnických pracovníků nahlášených do NZIS (Národní registr zdravotnických pracovníků – NRZP) poskytovateli zdravotních služeb jako aktivní v období od 1.6.2021 do současnosti.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309541" y="621246"/>
            <a:ext cx="115613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V této analýze jsou zahrnuti ZP, u kterých poskytovatelé zdravotních služeb nahlásili jejich aktivní výkon zaměstnání (v ambulantním sektoru mohou být tyto počty mírně nedohlášené). </a:t>
            </a: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7A968ED8-B7A5-4B68-AF27-DAE3E4FFEDCD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600" b="1" dirty="0">
                <a:solidFill>
                  <a:srgbClr val="FFFFFF"/>
                </a:solidFill>
              </a:rPr>
              <a:t>Stav k 9. 10. 2021</a:t>
            </a:r>
          </a:p>
        </p:txBody>
      </p:sp>
      <p:graphicFrame>
        <p:nvGraphicFramePr>
          <p:cNvPr id="13" name="Tabulka 12">
            <a:extLst>
              <a:ext uri="{FF2B5EF4-FFF2-40B4-BE49-F238E27FC236}">
                <a16:creationId xmlns:a16="http://schemas.microsoft.com/office/drawing/2014/main" id="{9EBA9451-7A3F-4EF9-93DD-7094F620D3D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08221915"/>
              </p:ext>
            </p:extLst>
          </p:nvPr>
        </p:nvGraphicFramePr>
        <p:xfrm>
          <a:off x="356585" y="1390933"/>
          <a:ext cx="11273440" cy="427385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567965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  <a:gridCol w="1901825">
                  <a:extLst>
                    <a:ext uri="{9D8B030D-6E8A-4147-A177-3AD203B41FA5}">
                      <a16:colId xmlns:a16="http://schemas.microsoft.com/office/drawing/2014/main" val="3939455336"/>
                    </a:ext>
                  </a:extLst>
                </a:gridCol>
                <a:gridCol w="1901825">
                  <a:extLst>
                    <a:ext uri="{9D8B030D-6E8A-4147-A177-3AD203B41FA5}">
                      <a16:colId xmlns:a16="http://schemas.microsoft.com/office/drawing/2014/main" val="2226907532"/>
                    </a:ext>
                  </a:extLst>
                </a:gridCol>
                <a:gridCol w="1901825">
                  <a:extLst>
                    <a:ext uri="{9D8B030D-6E8A-4147-A177-3AD203B41FA5}">
                      <a16:colId xmlns:a16="http://schemas.microsoft.com/office/drawing/2014/main" val="2183727549"/>
                    </a:ext>
                  </a:extLst>
                </a:gridCol>
              </a:tblGrid>
              <a:tr h="68436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dirty="0"/>
                        <a:t>Zdravotničtí pracovníci </a:t>
                      </a:r>
                    </a:p>
                    <a:p>
                      <a:pPr algn="l" fontAlgn="ctr"/>
                      <a:r>
                        <a:rPr lang="cs-CZ" sz="1600" dirty="0"/>
                        <a:t>evidovaní v NZIS**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 dirty="0">
                          <a:effectLst/>
                        </a:rPr>
                        <a:t>Počet aktivních zdravotnických pracovníků**</a:t>
                      </a:r>
                      <a:endParaRPr lang="cs-CZ" sz="16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u="none" strike="noStrike" dirty="0">
                          <a:effectLst/>
                        </a:rPr>
                        <a:t>Počet očkovaných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u="none" strike="noStrike" dirty="0">
                          <a:effectLst/>
                        </a:rPr>
                        <a:t>Podíl očkovaných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3304470326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rmaceuti</a:t>
                      </a:r>
                    </a:p>
                    <a:p>
                      <a:pPr algn="l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farmaceut, § 19 Farmaceutický asistent)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09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59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1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85223301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36 Ošetřovatel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43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2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,9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42 Sanitář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 90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1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8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18 Zdravotnický záchranář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39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,4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83551337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24 Fyzioterapeut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11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45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,8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17754198"/>
                  </a:ext>
                </a:extLst>
              </a:tr>
              <a:tr h="52218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boratorní pracovníci</a:t>
                      </a:r>
                    </a:p>
                    <a:p>
                      <a:pPr algn="l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§ 8 Radiologický asistent, § 9 Zdravotní laborant, § 26 Odborný pracovník v laboratorních metodách a v přípravě léčivých přípravků, § 30 Laboratorní asistent, § 41 Autoptický laborant)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44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23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,8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30714590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statní NLZP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97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89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8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3583781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EA862D7E-417C-4525-914B-23B4AD182BC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20676773"/>
              </p:ext>
            </p:extLst>
          </p:nvPr>
        </p:nvGraphicFramePr>
        <p:xfrm>
          <a:off x="1943099" y="1448593"/>
          <a:ext cx="9946013" cy="4689135"/>
        </p:xfrm>
        <a:graphic>
          <a:graphicData uri="http://schemas.openxmlformats.org/drawingml/2006/table">
            <a:tbl>
              <a:tblPr/>
              <a:tblGrid>
                <a:gridCol w="1420859">
                  <a:extLst>
                    <a:ext uri="{9D8B030D-6E8A-4147-A177-3AD203B41FA5}">
                      <a16:colId xmlns:a16="http://schemas.microsoft.com/office/drawing/2014/main" val="433114325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858745240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2712300402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2155262184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2399323378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1217581827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15005182"/>
                    </a:ext>
                  </a:extLst>
                </a:gridCol>
              </a:tblGrid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DE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D4D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FC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D0D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D7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9E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7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9703766"/>
                  </a:ext>
                </a:extLst>
              </a:tr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FC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7B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D0D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F0F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4C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1E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F1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059234"/>
                  </a:ext>
                </a:extLst>
              </a:tr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E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9FA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9B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F2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6B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BB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F5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7349200"/>
                  </a:ext>
                </a:extLst>
              </a:tr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9C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FD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FE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0E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0E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D0D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4323285"/>
                  </a:ext>
                </a:extLst>
              </a:tr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DE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959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A5A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DF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EC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1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CD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7305709"/>
                  </a:ext>
                </a:extLst>
              </a:tr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F8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5B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6C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F4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EC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0E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8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554800"/>
                  </a:ext>
                </a:extLst>
              </a:tr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ABA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848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3B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F2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E7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D1D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F6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3763208"/>
                  </a:ext>
                </a:extLst>
              </a:tr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0E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B1B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A9A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F7F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B6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939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D3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478469"/>
                  </a:ext>
                </a:extLst>
              </a:tr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AD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787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999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1C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939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A1A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ED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2881282"/>
                  </a:ext>
                </a:extLst>
              </a:tr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F7F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8C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BC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DD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9B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A8A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1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4717704"/>
                  </a:ext>
                </a:extLst>
              </a:tr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ADA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97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7B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8B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7C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5C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6C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5793886"/>
                  </a:ext>
                </a:extLst>
              </a:tr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F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8C8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9DA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7C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919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A0A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0104718"/>
                  </a:ext>
                </a:extLst>
              </a:tr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BE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80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7D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7F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8B8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878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8C8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2179881"/>
                  </a:ext>
                </a:extLst>
              </a:tr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5C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777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9D9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DE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7C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A6A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FC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9302523"/>
                  </a:ext>
                </a:extLst>
              </a:tr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D3D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9C9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3B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7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B0B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1C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D3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93528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037065" cy="576000"/>
          </a:xfrm>
        </p:spPr>
        <p:txBody>
          <a:bodyPr/>
          <a:lstStyle/>
          <a:p>
            <a:r>
              <a:rPr lang="cs-CZ" dirty="0"/>
              <a:t>Očkovaní NLZP v nemocnicích akutní lůžkové péče a ZZS</a:t>
            </a:r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A045BA81-95DE-42BA-99D6-CBB4DCCC5501}"/>
              </a:ext>
            </a:extLst>
          </p:cNvPr>
          <p:cNvSpPr/>
          <p:nvPr/>
        </p:nvSpPr>
        <p:spPr>
          <a:xfrm>
            <a:off x="172060" y="6401765"/>
            <a:ext cx="11753240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1100" dirty="0"/>
              <a:t>Do analýzy jsou zahrnuti pouze zdravotničtí pracovníci nahlášení poskytovateli zdravotnických služeb jako aktuálně zaměstnaní.</a:t>
            </a:r>
          </a:p>
          <a:p>
            <a:pPr algn="ctr"/>
            <a:r>
              <a:rPr lang="cs-CZ" sz="1100" dirty="0"/>
              <a:t>Zdroj: Národní registr zdravotnických pracovníků (NRZP), ÚZIS ČR; Informační systém infekční nemoci (ISIN) </a:t>
            </a:r>
          </a:p>
        </p:txBody>
      </p:sp>
      <p:sp>
        <p:nvSpPr>
          <p:cNvPr id="20" name="TextBox 6">
            <a:extLst>
              <a:ext uri="{FF2B5EF4-FFF2-40B4-BE49-F238E27FC236}">
                <a16:creationId xmlns:a16="http://schemas.microsoft.com/office/drawing/2014/main" id="{0D1107EB-D187-4678-AF28-2A18CAE50957}"/>
              </a:ext>
            </a:extLst>
          </p:cNvPr>
          <p:cNvSpPr txBox="1"/>
          <p:nvPr/>
        </p:nvSpPr>
        <p:spPr>
          <a:xfrm>
            <a:off x="297313" y="614100"/>
            <a:ext cx="17335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b="1" dirty="0"/>
              <a:t>Stav k 9. 10. 2021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002BA253-3FCF-4619-85EA-CE8807BFEB8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36333143"/>
              </p:ext>
            </p:extLst>
          </p:nvPr>
        </p:nvGraphicFramePr>
        <p:xfrm>
          <a:off x="302889" y="921878"/>
          <a:ext cx="11586222" cy="5215857"/>
        </p:xfrm>
        <a:graphic>
          <a:graphicData uri="http://schemas.openxmlformats.org/drawingml/2006/table">
            <a:tbl>
              <a:tblPr/>
              <a:tblGrid>
                <a:gridCol w="1640944">
                  <a:extLst>
                    <a:ext uri="{9D8B030D-6E8A-4147-A177-3AD203B41FA5}">
                      <a16:colId xmlns:a16="http://schemas.microsoft.com/office/drawing/2014/main" val="974880782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2441195149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2349922488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1048032588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2857566558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2038756237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134387120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3794948740"/>
                    </a:ext>
                  </a:extLst>
                </a:gridCol>
              </a:tblGrid>
              <a:tr h="499992"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6522" marT="652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rmaceuti</a:t>
                      </a:r>
                    </a:p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farmaceut, § 19 Farmaceutický asistent)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36 Ošetřovatel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42 Sanitář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18 Zdravotnický záchranář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24 Fyzioterapeut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boratorní pracovníci *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NLZP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48253265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0 (8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9 (8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46 (7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2 (8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8 (8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87 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5 (8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79527979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 (7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 (7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90 (8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6 (8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5 (79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2 (8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4 (8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261609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 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 (7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1 (7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5 (8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 (7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0 (7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1 (8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89404468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 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5 (8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1 (8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8 (8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 (8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8 (8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6 (8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5881402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8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 (7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5 (75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85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(7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 (7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 (8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10782105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 (8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8 (7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58 (8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5 (8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 (7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1 (8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2 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62802116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 (7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 (7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3 (7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 (86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 (6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9 (8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8 (8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77428449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 (8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 (77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4 (76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9 (8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 (6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2 (7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 (8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20309455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 (8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 (6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9 (7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 (7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 (7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4 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1 (8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11198027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 (8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(8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3 (8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 (8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(7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7 (7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6 (8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83674140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6 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(7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52 (7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 (7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0 (8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17 (8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8 (8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43397029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 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 (7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4 (6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 (7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 (69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6 (7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5 (7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7693671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 (7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3 (7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7 (7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 (7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6 (7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9 (7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907469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 (79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4 (6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61 (7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5 (8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3 (69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2 (7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0 (7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710140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16 (8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35 (7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620 (7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28 (8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472 (7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624 (7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317 (8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64919212"/>
                  </a:ext>
                </a:extLst>
              </a:tr>
            </a:tbl>
          </a:graphicData>
        </a:graphic>
      </p:graphicFrame>
      <p:sp>
        <p:nvSpPr>
          <p:cNvPr id="7" name="Obdélník 6">
            <a:extLst>
              <a:ext uri="{FF2B5EF4-FFF2-40B4-BE49-F238E27FC236}">
                <a16:creationId xmlns:a16="http://schemas.microsoft.com/office/drawing/2014/main" id="{EE8DF9DD-84CF-4A37-A410-0264FC601949}"/>
              </a:ext>
            </a:extLst>
          </p:cNvPr>
          <p:cNvSpPr/>
          <p:nvPr/>
        </p:nvSpPr>
        <p:spPr>
          <a:xfrm>
            <a:off x="1476376" y="6151138"/>
            <a:ext cx="1054448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 § 8 Radiologický asistent, § 9 Zdravotní laborant, § 26 Odborný pracovník v laboratorních metodách a v přípravě léčivých přípravků, § 30 Laboratorní asistent, § 41 Autoptický laborant</a:t>
            </a:r>
            <a:endParaRPr lang="cs-CZ" sz="1000" dirty="0"/>
          </a:p>
        </p:txBody>
      </p:sp>
    </p:spTree>
    <p:extLst>
      <p:ext uri="{BB962C8B-B14F-4D97-AF65-F5344CB8AC3E}">
        <p14:creationId xmlns:p14="http://schemas.microsoft.com/office/powerpoint/2010/main" val="344294341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0D2A5E2A-0B44-4145-B2B6-AE762B5A6D3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94391561"/>
              </p:ext>
            </p:extLst>
          </p:nvPr>
        </p:nvGraphicFramePr>
        <p:xfrm>
          <a:off x="2633357" y="1286670"/>
          <a:ext cx="9310995" cy="4726072"/>
        </p:xfrm>
        <a:graphic>
          <a:graphicData uri="http://schemas.openxmlformats.org/drawingml/2006/table">
            <a:tbl>
              <a:tblPr/>
              <a:tblGrid>
                <a:gridCol w="620733">
                  <a:extLst>
                    <a:ext uri="{9D8B030D-6E8A-4147-A177-3AD203B41FA5}">
                      <a16:colId xmlns:a16="http://schemas.microsoft.com/office/drawing/2014/main" val="4192784163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409961240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1528095626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2995448174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246452468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1080227998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922104577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3071451262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1952942756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113936104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1839367170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2561387731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565996714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1789702367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3276803664"/>
                    </a:ext>
                  </a:extLst>
                </a:gridCol>
              </a:tblGrid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3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9849620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8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B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F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1535564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17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0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F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2215458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C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7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A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1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7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7439666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7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A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5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D0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4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5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0D4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0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ED9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23981522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D0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A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1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3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C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4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3C3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1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53582997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2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8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7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4957572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3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5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F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A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5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6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E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2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951379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4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9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7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C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2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C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3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E7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31960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E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4638449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B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B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EA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2556616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7480899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6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9C9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5755923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284712" cy="576000"/>
          </a:xfrm>
        </p:spPr>
        <p:txBody>
          <a:bodyPr/>
          <a:lstStyle/>
          <a:p>
            <a:r>
              <a:rPr lang="cs-CZ" dirty="0"/>
              <a:t>Očkovaní lékaři* podle typu zdravotnického zařízení</a:t>
            </a:r>
          </a:p>
        </p:txBody>
      </p:sp>
      <p:sp>
        <p:nvSpPr>
          <p:cNvPr id="20" name="TextBox 6">
            <a:extLst>
              <a:ext uri="{FF2B5EF4-FFF2-40B4-BE49-F238E27FC236}">
                <a16:creationId xmlns:a16="http://schemas.microsoft.com/office/drawing/2014/main" id="{0D1107EB-D187-4678-AF28-2A18CAE50957}"/>
              </a:ext>
            </a:extLst>
          </p:cNvPr>
          <p:cNvSpPr txBox="1"/>
          <p:nvPr/>
        </p:nvSpPr>
        <p:spPr>
          <a:xfrm>
            <a:off x="10286390" y="6540606"/>
            <a:ext cx="17335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b="1" dirty="0"/>
              <a:t>Stav k 9. 10. 2021</a:t>
            </a:r>
          </a:p>
        </p:txBody>
      </p:sp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CD48C377-98E3-4540-BFE1-BA921AC0BAE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23219946"/>
              </p:ext>
            </p:extLst>
          </p:nvPr>
        </p:nvGraphicFramePr>
        <p:xfrm>
          <a:off x="192538" y="770856"/>
          <a:ext cx="11751815" cy="5241880"/>
        </p:xfrm>
        <a:graphic>
          <a:graphicData uri="http://schemas.openxmlformats.org/drawingml/2006/table">
            <a:tbl>
              <a:tblPr/>
              <a:tblGrid>
                <a:gridCol w="2438405">
                  <a:extLst>
                    <a:ext uri="{9D8B030D-6E8A-4147-A177-3AD203B41FA5}">
                      <a16:colId xmlns:a16="http://schemas.microsoft.com/office/drawing/2014/main" val="652507569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477482594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2314989255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1133656534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707313385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2614584230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645035601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588882927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2171033188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922541207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416196272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1768927368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636322451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251406687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054528204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575082524"/>
                    </a:ext>
                  </a:extLst>
                </a:gridCol>
              </a:tblGrid>
              <a:tr h="3639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čkovaných alespoň jednou dávkou (podíl ze všech pracovníků daného povolání)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M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*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8974545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akutní péč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8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4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4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7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1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3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5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9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3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5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3397526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následné peče a jiná lůžkov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6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7148793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ychiatric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5978599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ázeňs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681261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ospělé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6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9956148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ěti a dorost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9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8753742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zubního léka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7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1169380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gynekolog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4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3463250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lékaře specialist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95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8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94938465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pt-B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ambulantní zařízení a laborato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3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89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2312617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á záchranná služb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8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3997440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ékár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4247117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ck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0</a:t>
                      </a:r>
                      <a:b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5943844"/>
                  </a:ext>
                </a:extLst>
              </a:tr>
            </a:tbl>
          </a:graphicData>
        </a:graphic>
      </p:graphicFrame>
      <p:sp>
        <p:nvSpPr>
          <p:cNvPr id="18" name="Obdélník 17">
            <a:extLst>
              <a:ext uri="{FF2B5EF4-FFF2-40B4-BE49-F238E27FC236}">
                <a16:creationId xmlns:a16="http://schemas.microsoft.com/office/drawing/2014/main" id="{807777C6-243E-41FA-BD00-EE19544600CE}"/>
              </a:ext>
            </a:extLst>
          </p:cNvPr>
          <p:cNvSpPr/>
          <p:nvPr/>
        </p:nvSpPr>
        <p:spPr>
          <a:xfrm>
            <a:off x="119367" y="6013803"/>
            <a:ext cx="11953265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Lékaři včetně zubních lékařů; jedna osoba může pracovat ve více krajích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analýzy jsou zahrnuti pouze zdravotničtí pracovníci nahlášení poskytovateli zdravotnických služeb jako aktuálně zaměstnaní. Výsledky mohou být ovlivněny úplností hlášení poskytovatelů zdravotních služeb do NRZP (viz příloha).</a:t>
            </a:r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74028100-6752-4BD6-8757-694F3E498E25}"/>
              </a:ext>
            </a:extLst>
          </p:cNvPr>
          <p:cNvSpPr/>
          <p:nvPr/>
        </p:nvSpPr>
        <p:spPr>
          <a:xfrm>
            <a:off x="172060" y="6573215"/>
            <a:ext cx="1019114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registr zdravotnických pracovníků (NRZP), ÚZIS ČR; Informační systém infekční nemoci (ISIN) </a:t>
            </a:r>
          </a:p>
        </p:txBody>
      </p:sp>
    </p:spTree>
    <p:extLst>
      <p:ext uri="{BB962C8B-B14F-4D97-AF65-F5344CB8AC3E}">
        <p14:creationId xmlns:p14="http://schemas.microsoft.com/office/powerpoint/2010/main" val="221484929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6C2F2B67-ACCE-4AF5-89F4-3EE93ACFC7C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07381461"/>
              </p:ext>
            </p:extLst>
          </p:nvPr>
        </p:nvGraphicFramePr>
        <p:xfrm>
          <a:off x="2633357" y="1286668"/>
          <a:ext cx="9310995" cy="4726072"/>
        </p:xfrm>
        <a:graphic>
          <a:graphicData uri="http://schemas.openxmlformats.org/drawingml/2006/table">
            <a:tbl>
              <a:tblPr/>
              <a:tblGrid>
                <a:gridCol w="620733">
                  <a:extLst>
                    <a:ext uri="{9D8B030D-6E8A-4147-A177-3AD203B41FA5}">
                      <a16:colId xmlns:a16="http://schemas.microsoft.com/office/drawing/2014/main" val="1599031650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1213262809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2584944633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3387901516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790237216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3563750328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620870406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3744371360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3024129848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441714548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1301020760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1893302979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1576079916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3347686838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43779163"/>
                    </a:ext>
                  </a:extLst>
                </a:gridCol>
              </a:tblGrid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9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A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309188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7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A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2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3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6741294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7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4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3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09850161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ECF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77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0D0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8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4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7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98894615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4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B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7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9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2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E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6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1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4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6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8DC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6040037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A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1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E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5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8CE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7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DD4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FD4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1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3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1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ADC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3290444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B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B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3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B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7623196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1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0CB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6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A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E7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8237110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1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A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442639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3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4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726365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B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2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2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E6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1712166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D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2DF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3574448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1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D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8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5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5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87600182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284712" cy="576000"/>
          </a:xfrm>
        </p:spPr>
        <p:txBody>
          <a:bodyPr/>
          <a:lstStyle/>
          <a:p>
            <a:r>
              <a:rPr lang="cs-CZ" dirty="0"/>
              <a:t>Očkované sestry* podle typu zdravotnického zařízení</a:t>
            </a:r>
          </a:p>
        </p:txBody>
      </p:sp>
      <p:sp>
        <p:nvSpPr>
          <p:cNvPr id="20" name="TextBox 6">
            <a:extLst>
              <a:ext uri="{FF2B5EF4-FFF2-40B4-BE49-F238E27FC236}">
                <a16:creationId xmlns:a16="http://schemas.microsoft.com/office/drawing/2014/main" id="{0D1107EB-D187-4678-AF28-2A18CAE50957}"/>
              </a:ext>
            </a:extLst>
          </p:cNvPr>
          <p:cNvSpPr txBox="1"/>
          <p:nvPr/>
        </p:nvSpPr>
        <p:spPr>
          <a:xfrm>
            <a:off x="10286390" y="6540606"/>
            <a:ext cx="17335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b="1" dirty="0"/>
              <a:t>Stav k 9. 10. 2021</a:t>
            </a:r>
          </a:p>
        </p:txBody>
      </p:sp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CD48C377-98E3-4540-BFE1-BA921AC0BAE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08717889"/>
              </p:ext>
            </p:extLst>
          </p:nvPr>
        </p:nvGraphicFramePr>
        <p:xfrm>
          <a:off x="192538" y="770856"/>
          <a:ext cx="11751815" cy="5241880"/>
        </p:xfrm>
        <a:graphic>
          <a:graphicData uri="http://schemas.openxmlformats.org/drawingml/2006/table">
            <a:tbl>
              <a:tblPr/>
              <a:tblGrid>
                <a:gridCol w="2438405">
                  <a:extLst>
                    <a:ext uri="{9D8B030D-6E8A-4147-A177-3AD203B41FA5}">
                      <a16:colId xmlns:a16="http://schemas.microsoft.com/office/drawing/2014/main" val="652507569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477482594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2314989255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1133656534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707313385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2614584230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645035601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588882927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2171033188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922541207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416196272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1768927368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636322451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251406687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054528204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575082524"/>
                    </a:ext>
                  </a:extLst>
                </a:gridCol>
              </a:tblGrid>
              <a:tr h="3639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čkovaných alespoň jednou dávkou (podíl ze všech pracovníků daného povolání)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M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*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8974545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akutní péč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65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5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4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3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7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7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4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9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0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4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4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71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 84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3397526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následné peče a jiná lůžkov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37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7148793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ychiatric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48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5978599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ázeňs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4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681261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ospělé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11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9956148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ěti a dorost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8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8753742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zubního léka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35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1169380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gynekolog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3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3463250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lékaře specialist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9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1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94938465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pt-B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ambulantní zařízení a laborato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7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0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74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2312617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á záchranná služb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3997440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ékár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4247117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ck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5</a:t>
                      </a:r>
                      <a:b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5943844"/>
                  </a:ext>
                </a:extLst>
              </a:tr>
            </a:tbl>
          </a:graphicData>
        </a:graphic>
      </p:graphicFrame>
      <p:sp>
        <p:nvSpPr>
          <p:cNvPr id="18" name="Obdélník 17">
            <a:extLst>
              <a:ext uri="{FF2B5EF4-FFF2-40B4-BE49-F238E27FC236}">
                <a16:creationId xmlns:a16="http://schemas.microsoft.com/office/drawing/2014/main" id="{807777C6-243E-41FA-BD00-EE19544600CE}"/>
              </a:ext>
            </a:extLst>
          </p:cNvPr>
          <p:cNvSpPr/>
          <p:nvPr/>
        </p:nvSpPr>
        <p:spPr>
          <a:xfrm>
            <a:off x="119367" y="6013803"/>
            <a:ext cx="11953265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§ 5 Všeobecná sestra, § 5a Dětská sestra, § 6 Porodní asistentka, § 21b Praktická sestra; jedna osoba může pracovat ve více krajích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analýzy jsou zahrnuti pouze zdravotničtí pracovníci nahlášení poskytovateli zdravotnických služeb jako aktuálně zaměstnaní. Výsledky mohou být ovlivněny úplností hlášení poskytovatelů zdravotních služeb do NRZP (viz příloha).</a:t>
            </a:r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74028100-6752-4BD6-8757-694F3E498E25}"/>
              </a:ext>
            </a:extLst>
          </p:cNvPr>
          <p:cNvSpPr/>
          <p:nvPr/>
        </p:nvSpPr>
        <p:spPr>
          <a:xfrm>
            <a:off x="172060" y="6573215"/>
            <a:ext cx="1019114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registr zdravotnických pracovníků (NRZP), ÚZIS ČR; Informační systém infekční nemoci (ISIN) </a:t>
            </a:r>
          </a:p>
        </p:txBody>
      </p:sp>
    </p:spTree>
    <p:extLst>
      <p:ext uri="{BB962C8B-B14F-4D97-AF65-F5344CB8AC3E}">
        <p14:creationId xmlns:p14="http://schemas.microsoft.com/office/powerpoint/2010/main" val="34870923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ání zdravotnických pracovníků </a:t>
            </a:r>
          </a:p>
        </p:txBody>
      </p:sp>
      <p:sp>
        <p:nvSpPr>
          <p:cNvPr id="25" name="Obdélník 24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525881" y="1036037"/>
            <a:ext cx="1109662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 aktuálně aktivně působících zdravotnických pracovníků má alespoň 1. dávku vakcinace 86 % lékařů, 78 % sesterských povolání a 76 % ostatních zdravotnických povolání. </a:t>
            </a:r>
          </a:p>
        </p:txBody>
      </p:sp>
      <p:sp>
        <p:nvSpPr>
          <p:cNvPr id="9" name="Šipka dolů 8"/>
          <p:cNvSpPr/>
          <p:nvPr/>
        </p:nvSpPr>
        <p:spPr>
          <a:xfrm>
            <a:off x="5270203" y="2428739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257785" y="3104222"/>
            <a:ext cx="11189401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čkování v těchto profesních kategoriích podstatně snížilo denní počet registrovaných nových nákaz  </a:t>
            </a:r>
          </a:p>
        </p:txBody>
      </p:sp>
      <p:sp>
        <p:nvSpPr>
          <p:cNvPr id="11" name="Šipka dolů 10"/>
          <p:cNvSpPr/>
          <p:nvPr/>
        </p:nvSpPr>
        <p:spPr>
          <a:xfrm>
            <a:off x="5270203" y="4341843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8233332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69DA97E5-06D5-414D-8FF4-3B57BBFEBF5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36589668"/>
              </p:ext>
            </p:extLst>
          </p:nvPr>
        </p:nvGraphicFramePr>
        <p:xfrm>
          <a:off x="2633357" y="1286669"/>
          <a:ext cx="9310995" cy="4726072"/>
        </p:xfrm>
        <a:graphic>
          <a:graphicData uri="http://schemas.openxmlformats.org/drawingml/2006/table">
            <a:tbl>
              <a:tblPr/>
              <a:tblGrid>
                <a:gridCol w="620733">
                  <a:extLst>
                    <a:ext uri="{9D8B030D-6E8A-4147-A177-3AD203B41FA5}">
                      <a16:colId xmlns:a16="http://schemas.microsoft.com/office/drawing/2014/main" val="3491764777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1301780750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1262203664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4201488271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4253259707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2484800027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4174295416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2284755194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711958454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2443283598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863834717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4237744182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3043540764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3195254221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1086408995"/>
                    </a:ext>
                  </a:extLst>
                </a:gridCol>
              </a:tblGrid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7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8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6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1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7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8384998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7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5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6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B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D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01998707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F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2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0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BE6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5185665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A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3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A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3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7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1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8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6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A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A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2858476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1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0D0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3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E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6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7C9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8CE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DCF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1D9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5093535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0D0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C7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2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25908893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0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0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6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49912233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5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6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A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1E3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998615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7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A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8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8331600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9171240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9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3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A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3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ED4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A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A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8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3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1DA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9481111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6672365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6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7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9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A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E8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097311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284712" cy="576000"/>
          </a:xfrm>
        </p:spPr>
        <p:txBody>
          <a:bodyPr/>
          <a:lstStyle/>
          <a:p>
            <a:r>
              <a:rPr lang="cs-CZ" dirty="0"/>
              <a:t>Očkovaní ostatní ZP* podle typu zdravotnického zařízení</a:t>
            </a:r>
          </a:p>
        </p:txBody>
      </p:sp>
      <p:sp>
        <p:nvSpPr>
          <p:cNvPr id="20" name="TextBox 6">
            <a:extLst>
              <a:ext uri="{FF2B5EF4-FFF2-40B4-BE49-F238E27FC236}">
                <a16:creationId xmlns:a16="http://schemas.microsoft.com/office/drawing/2014/main" id="{0D1107EB-D187-4678-AF28-2A18CAE50957}"/>
              </a:ext>
            </a:extLst>
          </p:cNvPr>
          <p:cNvSpPr txBox="1"/>
          <p:nvPr/>
        </p:nvSpPr>
        <p:spPr>
          <a:xfrm>
            <a:off x="10286390" y="6540606"/>
            <a:ext cx="17335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b="1" dirty="0"/>
              <a:t>Stav k 9. 10. 2021</a:t>
            </a:r>
          </a:p>
        </p:txBody>
      </p:sp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CD48C377-98E3-4540-BFE1-BA921AC0BAE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07025027"/>
              </p:ext>
            </p:extLst>
          </p:nvPr>
        </p:nvGraphicFramePr>
        <p:xfrm>
          <a:off x="192538" y="770856"/>
          <a:ext cx="11751815" cy="5241880"/>
        </p:xfrm>
        <a:graphic>
          <a:graphicData uri="http://schemas.openxmlformats.org/drawingml/2006/table">
            <a:tbl>
              <a:tblPr/>
              <a:tblGrid>
                <a:gridCol w="2438405">
                  <a:extLst>
                    <a:ext uri="{9D8B030D-6E8A-4147-A177-3AD203B41FA5}">
                      <a16:colId xmlns:a16="http://schemas.microsoft.com/office/drawing/2014/main" val="652507569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477482594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2314989255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1133656534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707313385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2614584230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645035601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588882927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2171033188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922541207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416196272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1768927368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636322451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251406687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054528204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575082524"/>
                    </a:ext>
                  </a:extLst>
                </a:gridCol>
              </a:tblGrid>
              <a:tr h="43441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čkovaných alespoň jednou dávkou (podíl ze všech pracovníků daného povolání)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M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*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8974545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akutní péč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37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4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3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665</a:t>
                      </a:r>
                      <a:b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9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8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81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86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3397526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následné peče a jiná lůžkov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6</a:t>
                      </a:r>
                      <a:b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7148793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ychiatric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98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5978599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ázeňs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4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681261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ospělé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  <a:b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9956148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ěti a dorost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8753742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zubního léka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4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1169380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gynekolog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3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3463250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lékaře specialist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94938465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pt-B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ambulantní zařízení a laborato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7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2</a:t>
                      </a:r>
                      <a:b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0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2312617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á záchranná služb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6</a:t>
                      </a:r>
                      <a:b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3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3997440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ékár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4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7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1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4247117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ck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0</a:t>
                      </a:r>
                      <a:b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7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56</a:t>
                      </a:r>
                      <a:b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5943844"/>
                  </a:ext>
                </a:extLst>
              </a:tr>
            </a:tbl>
          </a:graphicData>
        </a:graphic>
      </p:graphicFrame>
      <p:sp>
        <p:nvSpPr>
          <p:cNvPr id="18" name="Obdélník 17">
            <a:extLst>
              <a:ext uri="{FF2B5EF4-FFF2-40B4-BE49-F238E27FC236}">
                <a16:creationId xmlns:a16="http://schemas.microsoft.com/office/drawing/2014/main" id="{807777C6-243E-41FA-BD00-EE19544600CE}"/>
              </a:ext>
            </a:extLst>
          </p:cNvPr>
          <p:cNvSpPr/>
          <p:nvPr/>
        </p:nvSpPr>
        <p:spPr>
          <a:xfrm>
            <a:off x="119367" y="6013803"/>
            <a:ext cx="11953265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NLZP § 7 až § 42 kromě § 21b, farmaceuti; jedna osoba může pracovat ve více krajích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analýzy jsou zahrnuti pouze zdravotničtí pracovníci nahlášení poskytovateli zdravotnických služeb jako aktuálně zaměstnaní. Výsledky mohou být ovlivněny úplností hlášení poskytovatelů zdravotních služeb do NRZP (viz příloha).</a:t>
            </a:r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74028100-6752-4BD6-8757-694F3E498E25}"/>
              </a:ext>
            </a:extLst>
          </p:cNvPr>
          <p:cNvSpPr/>
          <p:nvPr/>
        </p:nvSpPr>
        <p:spPr>
          <a:xfrm>
            <a:off x="172060" y="6573215"/>
            <a:ext cx="1019114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registr zdravotnických pracovníků (NRZP), ÚZIS ČR; Informační systém infekční nemoci (ISIN) </a:t>
            </a:r>
          </a:p>
        </p:txBody>
      </p:sp>
    </p:spTree>
    <p:extLst>
      <p:ext uri="{BB962C8B-B14F-4D97-AF65-F5344CB8AC3E}">
        <p14:creationId xmlns:p14="http://schemas.microsoft.com/office/powerpoint/2010/main" val="280527864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zdravotničtí pracovníci celkem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42488E7D-BBBA-434F-B593-669897479465}"/>
              </a:ext>
            </a:extLst>
          </p:cNvPr>
          <p:cNvSpPr/>
          <p:nvPr/>
        </p:nvSpPr>
        <p:spPr>
          <a:xfrm>
            <a:off x="1733551" y="6537471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  <p:graphicFrame>
        <p:nvGraphicFramePr>
          <p:cNvPr id="3" name="Tabulka 2">
            <a:extLst>
              <a:ext uri="{FF2B5EF4-FFF2-40B4-BE49-F238E27FC236}">
                <a16:creationId xmlns:a16="http://schemas.microsoft.com/office/drawing/2014/main" id="{0C428FC5-EA14-48AE-B731-D5EA9FEB981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4792529"/>
              </p:ext>
            </p:extLst>
          </p:nvPr>
        </p:nvGraphicFramePr>
        <p:xfrm>
          <a:off x="356585" y="1390934"/>
          <a:ext cx="11149615" cy="4296106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4823702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  <a:gridCol w="2338725">
                  <a:extLst>
                    <a:ext uri="{9D8B030D-6E8A-4147-A177-3AD203B41FA5}">
                      <a16:colId xmlns:a16="http://schemas.microsoft.com/office/drawing/2014/main" val="3939455336"/>
                    </a:ext>
                  </a:extLst>
                </a:gridCol>
                <a:gridCol w="1993594">
                  <a:extLst>
                    <a:ext uri="{9D8B030D-6E8A-4147-A177-3AD203B41FA5}">
                      <a16:colId xmlns:a16="http://schemas.microsoft.com/office/drawing/2014/main" val="2226907532"/>
                    </a:ext>
                  </a:extLst>
                </a:gridCol>
                <a:gridCol w="1993594">
                  <a:extLst>
                    <a:ext uri="{9D8B030D-6E8A-4147-A177-3AD203B41FA5}">
                      <a16:colId xmlns:a16="http://schemas.microsoft.com/office/drawing/2014/main" val="2183727549"/>
                    </a:ext>
                  </a:extLst>
                </a:gridCol>
              </a:tblGrid>
              <a:tr h="992626">
                <a:tc>
                  <a:txBody>
                    <a:bodyPr/>
                    <a:lstStyle/>
                    <a:p>
                      <a:pPr algn="l" fontAlgn="ctr"/>
                      <a:r>
                        <a:rPr lang="cs-CZ" dirty="0"/>
                        <a:t>Zdravotničtí pracovníci </a:t>
                      </a:r>
                    </a:p>
                    <a:p>
                      <a:pPr algn="l" fontAlgn="ctr"/>
                      <a:r>
                        <a:rPr lang="cs-CZ" dirty="0"/>
                        <a:t>evidovaní v NZIS*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 dirty="0">
                          <a:effectLst/>
                        </a:rPr>
                        <a:t>Celkový počet zdravotnických pracovníků**</a:t>
                      </a:r>
                      <a:endParaRPr lang="cs-CZ" sz="18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 dirty="0">
                          <a:effectLst/>
                        </a:rPr>
                        <a:t>Počet očkovaných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>
                          <a:effectLst/>
                        </a:rPr>
                        <a:t>Podíl očkovaných</a:t>
                      </a:r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3304470326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Lékař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včetně zubních lékařů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 6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 54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,5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Sestry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§ 5 Všeobecná sestra, § 5a Dětská sestra,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§ 6 Porodní asistentka, § 21b Praktická sestra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8 00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1 44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3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Ostatní zdravotničtí pracovníc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NLZP § 7 až § 42 kromě § 21b, farmaceuti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8 08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7 82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,8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u="none" strike="noStrike" dirty="0">
                          <a:effectLst/>
                        </a:rPr>
                        <a:t>CELKEM</a:t>
                      </a:r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63 7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64 80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72,8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34177443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0D1107EB-D187-4678-AF28-2A18CAE50957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9. 10. 2021</a:t>
            </a:r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C6F37292-6D98-4BA4-B894-BD354102F974}"/>
              </a:ext>
            </a:extLst>
          </p:cNvPr>
          <p:cNvSpPr/>
          <p:nvPr/>
        </p:nvSpPr>
        <p:spPr>
          <a:xfrm>
            <a:off x="330707" y="5686170"/>
            <a:ext cx="11454102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 lvl="0"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* Počet zdravotnických pracovníků </a:t>
            </a:r>
            <a:r>
              <a:rPr lang="cs-CZ" sz="1100" dirty="0">
                <a:solidFill>
                  <a:srgbClr val="000000"/>
                </a:solidFill>
              </a:rPr>
              <a:t>evidovaných v NZIS (Národní registr zdravotnických pracovníků – NRZP)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</a:p>
        </p:txBody>
      </p:sp>
      <p:sp>
        <p:nvSpPr>
          <p:cNvPr id="4" name="TextovéPole 3"/>
          <p:cNvSpPr txBox="1"/>
          <p:nvPr/>
        </p:nvSpPr>
        <p:spPr>
          <a:xfrm>
            <a:off x="255987" y="618549"/>
            <a:ext cx="1169788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Tabulka tedy nereflektuje, zda daný ZP skutečně vykonává zdravotnické povolání v ČR. Zahrnuti jsou i ZP v seniorním, důchodovém, věku. </a:t>
            </a:r>
          </a:p>
        </p:txBody>
      </p:sp>
    </p:spTree>
    <p:extLst>
      <p:ext uri="{BB962C8B-B14F-4D97-AF65-F5344CB8AC3E}">
        <p14:creationId xmlns:p14="http://schemas.microsoft.com/office/powerpoint/2010/main" val="3699004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sz="1800" dirty="0"/>
              <a:t>Očkování zdravotnických pracovníků – počty očkovaných v čase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35D0792-DA3D-4697-90DD-E7E191A14A9B}"/>
              </a:ext>
            </a:extLst>
          </p:cNvPr>
          <p:cNvSpPr txBox="1"/>
          <p:nvPr/>
        </p:nvSpPr>
        <p:spPr>
          <a:xfrm rot="16200000">
            <a:off x="-2049215" y="2820163"/>
            <a:ext cx="46818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mulativní počet očkovaných (alespoň první dávka)</a:t>
            </a:r>
          </a:p>
        </p:txBody>
      </p:sp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FDFE61B8-F449-4A66-9A16-364371C6A084}"/>
              </a:ext>
            </a:extLst>
          </p:cNvPr>
          <p:cNvGraphicFramePr/>
          <p:nvPr/>
        </p:nvGraphicFramePr>
        <p:xfrm>
          <a:off x="561974" y="759913"/>
          <a:ext cx="11377929" cy="49881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35619201-FB04-4641-AC77-14154175A615}"/>
              </a:ext>
            </a:extLst>
          </p:cNvPr>
          <p:cNvGraphicFramePr>
            <a:graphicFrameLocks noGrp="1"/>
          </p:cNvGraphicFramePr>
          <p:nvPr/>
        </p:nvGraphicFramePr>
        <p:xfrm>
          <a:off x="10344150" y="2181222"/>
          <a:ext cx="1595753" cy="2352680"/>
        </p:xfrm>
        <a:graphic>
          <a:graphicData uri="http://schemas.openxmlformats.org/drawingml/2006/table">
            <a:tbl>
              <a:tblPr/>
              <a:tblGrid>
                <a:gridCol w="994535">
                  <a:extLst>
                    <a:ext uri="{9D8B030D-6E8A-4147-A177-3AD203B41FA5}">
                      <a16:colId xmlns:a16="http://schemas.microsoft.com/office/drawing/2014/main" val="2493138386"/>
                    </a:ext>
                  </a:extLst>
                </a:gridCol>
                <a:gridCol w="601218">
                  <a:extLst>
                    <a:ext uri="{9D8B030D-6E8A-4147-A177-3AD203B41FA5}">
                      <a16:colId xmlns:a16="http://schemas.microsoft.com/office/drawing/2014/main" val="477226283"/>
                    </a:ext>
                  </a:extLst>
                </a:gridCol>
              </a:tblGrid>
              <a:tr h="5881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P celke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4 80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1664348"/>
                  </a:ext>
                </a:extLst>
              </a:tr>
              <a:tr h="5881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estr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1 4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0816711"/>
                  </a:ext>
                </a:extLst>
              </a:tr>
              <a:tr h="5881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statní ZP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7 8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1517692"/>
                  </a:ext>
                </a:extLst>
              </a:tr>
              <a:tr h="5881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ékaři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 5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161812"/>
                  </a:ext>
                </a:extLst>
              </a:tr>
            </a:tbl>
          </a:graphicData>
        </a:graphic>
      </p:graphicFrame>
      <p:sp>
        <p:nvSpPr>
          <p:cNvPr id="7" name="Obdélník 6">
            <a:extLst>
              <a:ext uri="{FF2B5EF4-FFF2-40B4-BE49-F238E27FC236}">
                <a16:creationId xmlns:a16="http://schemas.microsoft.com/office/drawing/2014/main" id="{25C2658B-5F4D-4E25-809A-B07FC20B8E8A}"/>
              </a:ext>
            </a:extLst>
          </p:cNvPr>
          <p:cNvSpPr/>
          <p:nvPr/>
        </p:nvSpPr>
        <p:spPr>
          <a:xfrm>
            <a:off x="1752601" y="6566046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70397ABA-C686-444D-9A37-CA5AF71FAD64}"/>
              </a:ext>
            </a:extLst>
          </p:cNvPr>
          <p:cNvSpPr txBox="1"/>
          <p:nvPr/>
        </p:nvSpPr>
        <p:spPr>
          <a:xfrm>
            <a:off x="257785" y="5774033"/>
            <a:ext cx="11800865" cy="8463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100" dirty="0"/>
              <a:t>Zahrnuty jsou zdravotničtí pracovníci (ZP) podle hlášení povinných subjektů do NRZP (vzdělávací instituce, poskytovatelé). Celkový počet ZP zahrnuje osoby s odpovídající odbornou způsobilostí pro výkony povolání ZP* žijící k danému datu. Výstup nezohledňuje, zda daný ZP skutečně vykonává dané povolání v ČR. Zahrnuti jsou i ZP v seniorním, důchodovém, věku.</a:t>
            </a:r>
          </a:p>
          <a:p>
            <a:r>
              <a:rPr lang="cs-CZ" sz="900" dirty="0"/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</p:txBody>
      </p:sp>
    </p:spTree>
    <p:extLst>
      <p:ext uri="{BB962C8B-B14F-4D97-AF65-F5344CB8AC3E}">
        <p14:creationId xmlns:p14="http://schemas.microsoft.com/office/powerpoint/2010/main" val="56333894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aktivní zdravotničtí pracovníci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42488E7D-BBBA-434F-B593-669897479465}"/>
              </a:ext>
            </a:extLst>
          </p:cNvPr>
          <p:cNvSpPr/>
          <p:nvPr/>
        </p:nvSpPr>
        <p:spPr>
          <a:xfrm>
            <a:off x="1733551" y="6556521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B5F8F24A-407C-46C2-BF8F-7094A798CF34}"/>
              </a:ext>
            </a:extLst>
          </p:cNvPr>
          <p:cNvSpPr/>
          <p:nvPr/>
        </p:nvSpPr>
        <p:spPr>
          <a:xfrm>
            <a:off x="331021" y="5689889"/>
            <a:ext cx="1145410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>
              <a:defRPr/>
            </a:pPr>
            <a:r>
              <a:rPr lang="cs-CZ" sz="1100" dirty="0">
                <a:solidFill>
                  <a:srgbClr val="000000"/>
                </a:solidFill>
              </a:rPr>
              <a:t>** Počet zdravotnických pracovníků nahlášených do NZIS (Národní registr zdravotnických pracovníků – NRZP) poskytovateli zdravotních služeb jako aktivní v období od 1.9.2021 do současnosti.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309541" y="621246"/>
            <a:ext cx="115613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V této analýze jsou zahrnuti ZP, u kterých poskytovatelé zdravotních služeb nahlásili jejich aktivní výkon zaměstnání (v ambulantním sektoru mohou být tyto počty mírně nedohlášené). </a:t>
            </a: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7A968ED8-B7A5-4B68-AF27-DAE3E4FFEDCD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600" b="1" dirty="0">
                <a:solidFill>
                  <a:srgbClr val="FFFFFF"/>
                </a:solidFill>
              </a:rPr>
              <a:t>Stav k 9. 10. 2021</a:t>
            </a:r>
          </a:p>
        </p:txBody>
      </p:sp>
      <p:graphicFrame>
        <p:nvGraphicFramePr>
          <p:cNvPr id="13" name="Tabulka 12">
            <a:extLst>
              <a:ext uri="{FF2B5EF4-FFF2-40B4-BE49-F238E27FC236}">
                <a16:creationId xmlns:a16="http://schemas.microsoft.com/office/drawing/2014/main" id="{9EBA9451-7A3F-4EF9-93DD-7094F620D3D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20334735"/>
              </p:ext>
            </p:extLst>
          </p:nvPr>
        </p:nvGraphicFramePr>
        <p:xfrm>
          <a:off x="356585" y="1390934"/>
          <a:ext cx="11273439" cy="4296106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4877273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  <a:gridCol w="2364698">
                  <a:extLst>
                    <a:ext uri="{9D8B030D-6E8A-4147-A177-3AD203B41FA5}">
                      <a16:colId xmlns:a16="http://schemas.microsoft.com/office/drawing/2014/main" val="3939455336"/>
                    </a:ext>
                  </a:extLst>
                </a:gridCol>
                <a:gridCol w="2015734">
                  <a:extLst>
                    <a:ext uri="{9D8B030D-6E8A-4147-A177-3AD203B41FA5}">
                      <a16:colId xmlns:a16="http://schemas.microsoft.com/office/drawing/2014/main" val="2226907532"/>
                    </a:ext>
                  </a:extLst>
                </a:gridCol>
                <a:gridCol w="2015734">
                  <a:extLst>
                    <a:ext uri="{9D8B030D-6E8A-4147-A177-3AD203B41FA5}">
                      <a16:colId xmlns:a16="http://schemas.microsoft.com/office/drawing/2014/main" val="2183727549"/>
                    </a:ext>
                  </a:extLst>
                </a:gridCol>
              </a:tblGrid>
              <a:tr h="992626">
                <a:tc>
                  <a:txBody>
                    <a:bodyPr/>
                    <a:lstStyle/>
                    <a:p>
                      <a:pPr algn="l" fontAlgn="ctr"/>
                      <a:r>
                        <a:rPr lang="cs-CZ" dirty="0"/>
                        <a:t>Zdravotničtí pracovníci </a:t>
                      </a:r>
                    </a:p>
                    <a:p>
                      <a:pPr algn="l" fontAlgn="ctr"/>
                      <a:r>
                        <a:rPr lang="cs-CZ" dirty="0"/>
                        <a:t>evidovaní v NZIS*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 dirty="0">
                          <a:effectLst/>
                        </a:rPr>
                        <a:t>Počet aktivních zdravotnických pracovníků**</a:t>
                      </a:r>
                      <a:endParaRPr lang="cs-CZ" sz="18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 dirty="0">
                          <a:effectLst/>
                        </a:rPr>
                        <a:t>Počet očkovaných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>
                          <a:effectLst/>
                        </a:rPr>
                        <a:t>Podíl očkovaných</a:t>
                      </a:r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3304470326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Lékař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včetně zubních lékařů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 69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 39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,9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Sestry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§ 5 Všeobecná sestra, § 5a Dětská sestra,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§ 6 Porodní asistentka, § 21b Praktická sestra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3 53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 25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,5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Ostatní zdravotničtí pracovníc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NLZP § 7 až § 42 kromě § 21b, farmaceuti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0 74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 77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8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u="none" strike="noStrike" dirty="0">
                          <a:effectLst/>
                        </a:rPr>
                        <a:t>CELKEM</a:t>
                      </a:r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45 97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94 4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79,0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341774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7823012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Vakcinace posilující dávkou</a:t>
            </a:r>
          </a:p>
        </p:txBody>
      </p:sp>
      <p:sp>
        <p:nvSpPr>
          <p:cNvPr id="5" name="TextBox 6">
            <a:extLst>
              <a:ext uri="{FF2B5EF4-FFF2-40B4-BE49-F238E27FC236}">
                <a16:creationId xmlns:a16="http://schemas.microsoft.com/office/drawing/2014/main" id="{FC5F43CD-61A6-4942-B1EB-1AFAC38D4C4A}"/>
              </a:ext>
            </a:extLst>
          </p:cNvPr>
          <p:cNvSpPr txBox="1"/>
          <p:nvPr/>
        </p:nvSpPr>
        <p:spPr>
          <a:xfrm>
            <a:off x="5686425" y="103334"/>
            <a:ext cx="22764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bg1"/>
                </a:solidFill>
              </a:rPr>
              <a:t>Stav k </a:t>
            </a:r>
            <a:r>
              <a:rPr lang="cs-CZ" b="1" dirty="0">
                <a:solidFill>
                  <a:srgbClr val="FFFFFF"/>
                </a:solidFill>
              </a:rPr>
              <a:t>9. 10. 2021</a:t>
            </a:r>
            <a:endParaRPr lang="cs-CZ" b="1" dirty="0">
              <a:solidFill>
                <a:schemeClr val="bg1"/>
              </a:solidFill>
            </a:endParaRP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05F5D353-1230-45A8-9016-8A9D8618F6E5}"/>
              </a:ext>
            </a:extLst>
          </p:cNvPr>
          <p:cNvSpPr/>
          <p:nvPr/>
        </p:nvSpPr>
        <p:spPr>
          <a:xfrm>
            <a:off x="252076" y="600164"/>
            <a:ext cx="353173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b="1" dirty="0"/>
              <a:t>Aktivní zdravotničtí pracovníci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442B2FDB-F20E-40AA-ADF4-05FC4E7F4BF6}"/>
              </a:ext>
            </a:extLst>
          </p:cNvPr>
          <p:cNvSpPr txBox="1"/>
          <p:nvPr/>
        </p:nvSpPr>
        <p:spPr>
          <a:xfrm>
            <a:off x="252076" y="6023223"/>
            <a:ext cx="11561308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100" dirty="0"/>
              <a:t>Počet zdravotnických pracovníků (ZP) dle hlášení povinných subjektů do Národního registru zdravotnických pracovníků – NRZP (vzdělávací instituce, poskytovatelé). Celkový počet ZP zahrnuje osoby s odpovídající odbornou způsobilostí pro výkony ZP a žijící k danému datu. V této analýze jsou zahrnuti ZP, u kterých poskytovatelé zdravotních služeb nahlásili jejich aktivní výkon zaměstnání </a:t>
            </a:r>
            <a:r>
              <a:rPr lang="pl-PL" sz="1100" dirty="0"/>
              <a:t>v období od 1.9.2021 do současnosti </a:t>
            </a:r>
            <a:r>
              <a:rPr lang="cs-CZ" sz="1100" dirty="0"/>
              <a:t>(v ambulantním sektoru mohou být tyto počty mírně nedohlášené). </a:t>
            </a:r>
          </a:p>
        </p:txBody>
      </p:sp>
      <p:graphicFrame>
        <p:nvGraphicFramePr>
          <p:cNvPr id="11" name="Table 2">
            <a:extLst>
              <a:ext uri="{FF2B5EF4-FFF2-40B4-BE49-F238E27FC236}">
                <a16:creationId xmlns:a16="http://schemas.microsoft.com/office/drawing/2014/main" id="{4567601D-A50C-4550-904F-A1C3633503D3}"/>
              </a:ext>
            </a:extLst>
          </p:cNvPr>
          <p:cNvGraphicFramePr>
            <a:graphicFrameLocks noGrp="1"/>
          </p:cNvGraphicFramePr>
          <p:nvPr/>
        </p:nvGraphicFramePr>
        <p:xfrm>
          <a:off x="315344" y="958340"/>
          <a:ext cx="11561311" cy="4698672"/>
        </p:xfrm>
        <a:graphic>
          <a:graphicData uri="http://schemas.openxmlformats.org/drawingml/2006/table">
            <a:tbl>
              <a:tblPr firstRow="1" lastRow="1" bandRow="1">
                <a:tableStyleId>{74C1A8A3-306A-4EB7-A6B1-4F7E0EB9C5D6}</a:tableStyleId>
              </a:tblPr>
              <a:tblGrid>
                <a:gridCol w="1744287">
                  <a:extLst>
                    <a:ext uri="{9D8B030D-6E8A-4147-A177-3AD203B41FA5}">
                      <a16:colId xmlns:a16="http://schemas.microsoft.com/office/drawing/2014/main" val="2523158226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1593569998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3216406433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1759659700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2767492860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773291409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3497186403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843981191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3182885545"/>
                    </a:ext>
                  </a:extLst>
                </a:gridCol>
              </a:tblGrid>
              <a:tr h="613647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Zdravotničtí pracovníci </a:t>
                      </a:r>
                    </a:p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ékaři </a:t>
                      </a:r>
                    </a:p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včetně zubních lékařů)</a:t>
                      </a:r>
                      <a:endParaRPr lang="cs-CZ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estry</a:t>
                      </a:r>
                      <a:r>
                        <a:rPr lang="cs-CZ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</a:p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§ 5 Všeobecná sestra, § 5a Dětská sestra, § 6 Porodní asistentka, § 21b Praktická sestra)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statní zdravotničtí pracovníci </a:t>
                      </a:r>
                    </a:p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NLZP § 7 až § 42 kromě § 21b, farmaceuti)</a:t>
                      </a:r>
                      <a:endParaRPr lang="cs-CZ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43287447"/>
                  </a:ext>
                </a:extLst>
              </a:tr>
              <a:tr h="600991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Kraj podle místa působení*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nárokem na posilující dávku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posilující dávkou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nárokem na posilující dávku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posilující dávkou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nárokem na posilující dávku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posilující dávkou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nárokem na posilující dávku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posilující dávkou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3062634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Hlavní město Praha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0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8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5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776035022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Středoče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4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848947671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>
                          <a:effectLst/>
                        </a:rPr>
                        <a:t>Jihočeský kraj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844333786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>
                          <a:effectLst/>
                        </a:rPr>
                        <a:t>Plzeňský kraj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443186940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Karlovar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247044073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>
                          <a:effectLst/>
                        </a:rPr>
                        <a:t>Ústecký kraj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024894236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Libere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28109536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Královéhrade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519525594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Pardubi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350366277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Kraj Vysočina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72557106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Jihomorav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1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127962169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Olomou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5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893644269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Zlín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556090642"/>
                  </a:ext>
                </a:extLst>
              </a:tr>
              <a:tr h="233556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 dirty="0">
                          <a:effectLst/>
                        </a:rPr>
                        <a:t>Moravskoslez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3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28310195"/>
                  </a:ext>
                </a:extLst>
              </a:tr>
              <a:tr h="221162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CELKEM**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 5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0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1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0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2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1976480"/>
                  </a:ext>
                </a:extLst>
              </a:tr>
            </a:tbl>
          </a:graphicData>
        </a:graphic>
      </p:graphicFrame>
      <p:sp>
        <p:nvSpPr>
          <p:cNvPr id="12" name="Obdélník 11">
            <a:extLst>
              <a:ext uri="{FF2B5EF4-FFF2-40B4-BE49-F238E27FC236}">
                <a16:creationId xmlns:a16="http://schemas.microsoft.com/office/drawing/2014/main" id="{07918BD6-47A7-4629-B00F-7C350B485540}"/>
              </a:ext>
            </a:extLst>
          </p:cNvPr>
          <p:cNvSpPr/>
          <p:nvPr/>
        </p:nvSpPr>
        <p:spPr>
          <a:xfrm>
            <a:off x="1752601" y="6566046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0106F417-40A8-41A4-A3D6-B22D419501BE}"/>
              </a:ext>
            </a:extLst>
          </p:cNvPr>
          <p:cNvSpPr/>
          <p:nvPr/>
        </p:nvSpPr>
        <p:spPr>
          <a:xfrm>
            <a:off x="252076" y="5668681"/>
            <a:ext cx="9158276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100" dirty="0"/>
              <a:t>* Přeočkování posilující dávkou je možné pro osoby, které mají nejméně 8 měsíců (v této analýze 244 dnů) po aplikaci ukončovací (druhé) dávky.</a:t>
            </a:r>
          </a:p>
          <a:p>
            <a:r>
              <a:rPr lang="cs-CZ" sz="1100" dirty="0"/>
              <a:t>** Jeden zdravotnický pracovník může působit ve více krajích, do celkového počtu je zahrnut pouze jednou. </a:t>
            </a:r>
          </a:p>
        </p:txBody>
      </p:sp>
    </p:spTree>
    <p:extLst>
      <p:ext uri="{BB962C8B-B14F-4D97-AF65-F5344CB8AC3E}">
        <p14:creationId xmlns:p14="http://schemas.microsoft.com/office/powerpoint/2010/main" val="341926788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délník 4">
            <a:extLst>
              <a:ext uri="{FF2B5EF4-FFF2-40B4-BE49-F238E27FC236}">
                <a16:creationId xmlns:a16="http://schemas.microsoft.com/office/drawing/2014/main" id="{CD96D264-7DB7-4540-BD2A-BEA7AA3CDEDF}"/>
              </a:ext>
            </a:extLst>
          </p:cNvPr>
          <p:cNvSpPr/>
          <p:nvPr/>
        </p:nvSpPr>
        <p:spPr>
          <a:xfrm>
            <a:off x="609693" y="647811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nově COVID-19 pozitivních (incidence),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stav k 7. 10. 2021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100" dirty="0">
                <a:latin typeface="Calibri" panose="020F0502020204030204" pitchFamily="34" charset="0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pracovníků ve zdravotnictví s nákazou COVID-19</a:t>
            </a:r>
          </a:p>
        </p:txBody>
      </p:sp>
      <p:graphicFrame>
        <p:nvGraphicFramePr>
          <p:cNvPr id="8" name="Graf 7">
            <a:extLst>
              <a:ext uri="{FF2B5EF4-FFF2-40B4-BE49-F238E27FC236}">
                <a16:creationId xmlns:a16="http://schemas.microsoft.com/office/drawing/2014/main" id="{43448D1D-2E05-45CA-A866-143DDBF5BA0C}"/>
              </a:ext>
            </a:extLst>
          </p:cNvPr>
          <p:cNvGraphicFramePr/>
          <p:nvPr/>
        </p:nvGraphicFramePr>
        <p:xfrm>
          <a:off x="142875" y="1119730"/>
          <a:ext cx="7153275" cy="54476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7C1367ED-B273-4E58-BBB3-AD1B81F63A12}"/>
              </a:ext>
            </a:extLst>
          </p:cNvPr>
          <p:cNvGraphicFramePr>
            <a:graphicFrameLocks noGrp="1"/>
          </p:cNvGraphicFramePr>
          <p:nvPr/>
        </p:nvGraphicFramePr>
        <p:xfrm>
          <a:off x="7296150" y="1209675"/>
          <a:ext cx="4661411" cy="5209594"/>
        </p:xfrm>
        <a:graphic>
          <a:graphicData uri="http://schemas.openxmlformats.org/drawingml/2006/table">
            <a:tbl>
              <a:tblPr/>
              <a:tblGrid>
                <a:gridCol w="1453112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782840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782840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840544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802075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872809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 denní klouzavý průměr 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poslední den)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200" b="0" i="0" u="none" strike="noStrike" dirty="0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Sesterská povolání </a:t>
                      </a:r>
                      <a:endParaRPr lang="cs-CZ" sz="1200" b="0" i="0" u="none" strike="noStrike" dirty="0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3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9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9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2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  <p:cxnSp>
        <p:nvCxnSpPr>
          <p:cNvPr id="14" name="Straight Connector 4">
            <a:extLst>
              <a:ext uri="{FF2B5EF4-FFF2-40B4-BE49-F238E27FC236}">
                <a16:creationId xmlns:a16="http://schemas.microsoft.com/office/drawing/2014/main" id="{F5F70D9E-87A2-4BFA-BE04-CC7F4241D0B4}"/>
              </a:ext>
            </a:extLst>
          </p:cNvPr>
          <p:cNvCxnSpPr/>
          <p:nvPr/>
        </p:nvCxnSpPr>
        <p:spPr>
          <a:xfrm>
            <a:off x="5606765" y="1702345"/>
            <a:ext cx="216000" cy="0"/>
          </a:xfrm>
          <a:prstGeom prst="line">
            <a:avLst/>
          </a:prstGeom>
          <a:ln w="190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5">
            <a:extLst>
              <a:ext uri="{FF2B5EF4-FFF2-40B4-BE49-F238E27FC236}">
                <a16:creationId xmlns:a16="http://schemas.microsoft.com/office/drawing/2014/main" id="{39CA3BBA-412B-4A3C-ADC1-DAF4B494D04F}"/>
              </a:ext>
            </a:extLst>
          </p:cNvPr>
          <p:cNvSpPr txBox="1"/>
          <p:nvPr/>
        </p:nvSpPr>
        <p:spPr>
          <a:xfrm>
            <a:off x="5789707" y="1533071"/>
            <a:ext cx="1341224" cy="5978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100"/>
              </a:lnSpc>
              <a:spcBef>
                <a:spcPts val="600"/>
              </a:spcBef>
            </a:pPr>
            <a:r>
              <a:rPr lang="cs-CZ" sz="1200" b="1" dirty="0">
                <a:latin typeface="Calibri" panose="020F0502020204030204" pitchFamily="34" charset="0"/>
                <a:cs typeface="Calibri" panose="020F0502020204030204" pitchFamily="34" charset="0"/>
              </a:rPr>
              <a:t>7 denní klouzavý průměr</a:t>
            </a:r>
          </a:p>
          <a:p>
            <a:pPr>
              <a:lnSpc>
                <a:spcPts val="1100"/>
              </a:lnSpc>
              <a:spcBef>
                <a:spcPts val="600"/>
              </a:spcBef>
            </a:pPr>
            <a:r>
              <a:rPr lang="cs-CZ" sz="1200" b="1" dirty="0">
                <a:latin typeface="Calibri" panose="020F0502020204030204" pitchFamily="34" charset="0"/>
                <a:cs typeface="Calibri" panose="020F0502020204030204" pitchFamily="34" charset="0"/>
              </a:rPr>
              <a:t>denní hodnoty</a:t>
            </a:r>
          </a:p>
        </p:txBody>
      </p:sp>
      <p:cxnSp>
        <p:nvCxnSpPr>
          <p:cNvPr id="17" name="Straight Connector 4">
            <a:extLst>
              <a:ext uri="{FF2B5EF4-FFF2-40B4-BE49-F238E27FC236}">
                <a16:creationId xmlns:a16="http://schemas.microsoft.com/office/drawing/2014/main" id="{49368D80-8513-4AF4-B12A-04F7F7E5994A}"/>
              </a:ext>
            </a:extLst>
          </p:cNvPr>
          <p:cNvCxnSpPr/>
          <p:nvPr/>
        </p:nvCxnSpPr>
        <p:spPr>
          <a:xfrm>
            <a:off x="5606765" y="1997620"/>
            <a:ext cx="216000" cy="0"/>
          </a:xfrm>
          <a:prstGeom prst="line">
            <a:avLst/>
          </a:prstGeom>
          <a:ln w="63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5">
            <a:extLst>
              <a:ext uri="{FF2B5EF4-FFF2-40B4-BE49-F238E27FC236}">
                <a16:creationId xmlns:a16="http://schemas.microsoft.com/office/drawing/2014/main" id="{5F83CAAA-A3F3-4137-A444-807362C84989}"/>
              </a:ext>
            </a:extLst>
          </p:cNvPr>
          <p:cNvSpPr txBox="1"/>
          <p:nvPr/>
        </p:nvSpPr>
        <p:spPr>
          <a:xfrm>
            <a:off x="5482538" y="2526371"/>
            <a:ext cx="1341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i="1" dirty="0">
                <a:latin typeface="Calibri" panose="020F0502020204030204" pitchFamily="34" charset="0"/>
                <a:cs typeface="Calibri" panose="020F0502020204030204" pitchFamily="34" charset="0"/>
              </a:rPr>
              <a:t>Poslední den:</a:t>
            </a:r>
          </a:p>
        </p:txBody>
      </p:sp>
    </p:spTree>
    <p:extLst>
      <p:ext uri="{BB962C8B-B14F-4D97-AF65-F5344CB8AC3E}">
        <p14:creationId xmlns:p14="http://schemas.microsoft.com/office/powerpoint/2010/main" val="426143306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Graf 6">
            <a:extLst>
              <a:ext uri="{FF2B5EF4-FFF2-40B4-BE49-F238E27FC236}">
                <a16:creationId xmlns:a16="http://schemas.microsoft.com/office/drawing/2014/main" id="{4E2462CD-2C28-4222-9D6A-55BCDDF9CD02}"/>
              </a:ext>
            </a:extLst>
          </p:cNvPr>
          <p:cNvGraphicFramePr/>
          <p:nvPr/>
        </p:nvGraphicFramePr>
        <p:xfrm>
          <a:off x="142875" y="1119730"/>
          <a:ext cx="7153275" cy="54476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Obdélník 4">
            <a:extLst>
              <a:ext uri="{FF2B5EF4-FFF2-40B4-BE49-F238E27FC236}">
                <a16:creationId xmlns:a16="http://schemas.microsoft.com/office/drawing/2014/main" id="{CD96D264-7DB7-4540-BD2A-BEA7AA3CDEDF}"/>
              </a:ext>
            </a:extLst>
          </p:cNvPr>
          <p:cNvSpPr/>
          <p:nvPr/>
        </p:nvSpPr>
        <p:spPr>
          <a:xfrm>
            <a:off x="609693" y="647811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ktuální počet COVID-19 pozitivních (prevalence),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stav k 7. 10. 2021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100" dirty="0">
                <a:latin typeface="Calibri" panose="020F0502020204030204" pitchFamily="34" charset="0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pracovníků ve zdravotnictví s nákazou COVID-19</a:t>
            </a: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7C1367ED-B273-4E58-BBB3-AD1B81F63A12}"/>
              </a:ext>
            </a:extLst>
          </p:cNvPr>
          <p:cNvGraphicFramePr>
            <a:graphicFrameLocks noGrp="1"/>
          </p:cNvGraphicFramePr>
          <p:nvPr/>
        </p:nvGraphicFramePr>
        <p:xfrm>
          <a:off x="7296150" y="1256231"/>
          <a:ext cx="4752977" cy="5154086"/>
        </p:xfrm>
        <a:graphic>
          <a:graphicData uri="http://schemas.openxmlformats.org/drawingml/2006/table">
            <a:tbl>
              <a:tblPr/>
              <a:tblGrid>
                <a:gridCol w="1456505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824118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824118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824118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824118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884666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200" b="0" i="0" u="none" strike="noStrike" dirty="0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Sesterská povolání </a:t>
                      </a:r>
                      <a:endParaRPr lang="cs-CZ" sz="1200" b="0" i="0" u="none" strike="noStrike" dirty="0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5731907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12DD06CC-B0DB-404A-B6F2-78C72C47F5DD}"/>
              </a:ext>
            </a:extLst>
          </p:cNvPr>
          <p:cNvGraphicFramePr>
            <a:graphicFrameLocks noGrp="1"/>
          </p:cNvGraphicFramePr>
          <p:nvPr/>
        </p:nvGraphicFramePr>
        <p:xfrm>
          <a:off x="10852149" y="2269864"/>
          <a:ext cx="766457" cy="3612150"/>
        </p:xfrm>
        <a:graphic>
          <a:graphicData uri="http://schemas.openxmlformats.org/drawingml/2006/table">
            <a:tbl>
              <a:tblPr/>
              <a:tblGrid>
                <a:gridCol w="766457">
                  <a:extLst>
                    <a:ext uri="{9D8B030D-6E8A-4147-A177-3AD203B41FA5}">
                      <a16:colId xmlns:a16="http://schemas.microsoft.com/office/drawing/2014/main" val="2627031723"/>
                    </a:ext>
                  </a:extLst>
                </a:gridCol>
              </a:tblGrid>
              <a:tr h="240810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0A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0645749"/>
                  </a:ext>
                </a:extLst>
              </a:tr>
              <a:tr h="240810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7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7973236"/>
                  </a:ext>
                </a:extLst>
              </a:tr>
              <a:tr h="240810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D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2921639"/>
                  </a:ext>
                </a:extLst>
              </a:tr>
              <a:tr h="240810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76735031"/>
                  </a:ext>
                </a:extLst>
              </a:tr>
              <a:tr h="240810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4D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9184130"/>
                  </a:ext>
                </a:extLst>
              </a:tr>
              <a:tr h="240810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9672924"/>
                  </a:ext>
                </a:extLst>
              </a:tr>
              <a:tr h="240810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0722005"/>
                  </a:ext>
                </a:extLst>
              </a:tr>
              <a:tr h="240810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D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2257649"/>
                  </a:ext>
                </a:extLst>
              </a:tr>
              <a:tr h="240810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3C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8128077"/>
                  </a:ext>
                </a:extLst>
              </a:tr>
              <a:tr h="240810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1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6648707"/>
                  </a:ext>
                </a:extLst>
              </a:tr>
              <a:tr h="240810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5B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6870751"/>
                  </a:ext>
                </a:extLst>
              </a:tr>
              <a:tr h="240810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EB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943489"/>
                  </a:ext>
                </a:extLst>
              </a:tr>
              <a:tr h="240810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F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932814"/>
                  </a:ext>
                </a:extLst>
              </a:tr>
              <a:tr h="240810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0767409"/>
                  </a:ext>
                </a:extLst>
              </a:tr>
              <a:tr h="240810"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6B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6280338"/>
                  </a:ext>
                </a:extLst>
              </a:tr>
            </a:tbl>
          </a:graphicData>
        </a:graphic>
      </p:graphicFrame>
      <p:sp>
        <p:nvSpPr>
          <p:cNvPr id="10" name="TextovéPole 5">
            <a:extLst>
              <a:ext uri="{FF2B5EF4-FFF2-40B4-BE49-F238E27FC236}">
                <a16:creationId xmlns:a16="http://schemas.microsoft.com/office/drawing/2014/main" id="{E3A22678-EE0A-4F0C-80A0-91CC52509AD0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100" dirty="0">
                <a:latin typeface="Calibri" panose="020F0502020204030204" pitchFamily="34" charset="0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AE238D39-7489-4465-AC4A-2E3C5F72AF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145" y="2"/>
            <a:ext cx="7502895" cy="576000"/>
          </a:xfrm>
        </p:spPr>
        <p:txBody>
          <a:bodyPr/>
          <a:lstStyle/>
          <a:p>
            <a:r>
              <a:rPr lang="cs-CZ" dirty="0"/>
              <a:t>Počty pracovníků ve zdravotnictví s nákazou COVID-19</a:t>
            </a:r>
          </a:p>
        </p:txBody>
      </p:sp>
      <p:sp>
        <p:nvSpPr>
          <p:cNvPr id="15" name="Obdélník 14">
            <a:extLst>
              <a:ext uri="{FF2B5EF4-FFF2-40B4-BE49-F238E27FC236}">
                <a16:creationId xmlns:a16="http://schemas.microsoft.com/office/drawing/2014/main" id="{1D66D047-1A81-43A9-AEC0-D36353A2C52D}"/>
              </a:ext>
            </a:extLst>
          </p:cNvPr>
          <p:cNvSpPr/>
          <p:nvPr/>
        </p:nvSpPr>
        <p:spPr>
          <a:xfrm>
            <a:off x="607274" y="646685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>
              <a:defRPr/>
            </a:pPr>
            <a:r>
              <a:rPr lang="cs-CZ" sz="2000" b="1" dirty="0">
                <a:solidFill>
                  <a:srgbClr val="000000"/>
                </a:solidFill>
                <a:latin typeface="Calibri" panose="020F0502020204030204" pitchFamily="34" charset="0"/>
              </a:rPr>
              <a:t>Aktuální počet COVID-19 pozitivních,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stav k 7. 10. 2021 </a:t>
            </a:r>
            <a:endParaRPr lang="cs-CZ" sz="2000" b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17" name="Tabulka 16">
            <a:extLst>
              <a:ext uri="{FF2B5EF4-FFF2-40B4-BE49-F238E27FC236}">
                <a16:creationId xmlns:a16="http://schemas.microsoft.com/office/drawing/2014/main" id="{35E2859C-4D5B-4818-B563-9E4138B938E9}"/>
              </a:ext>
            </a:extLst>
          </p:cNvPr>
          <p:cNvGraphicFramePr>
            <a:graphicFrameLocks noGrp="1"/>
          </p:cNvGraphicFramePr>
          <p:nvPr/>
        </p:nvGraphicFramePr>
        <p:xfrm>
          <a:off x="672701" y="1101986"/>
          <a:ext cx="10945906" cy="4780030"/>
        </p:xfrm>
        <a:graphic>
          <a:graphicData uri="http://schemas.openxmlformats.org/drawingml/2006/table">
            <a:tbl>
              <a:tblPr/>
              <a:tblGrid>
                <a:gridCol w="1670422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533895005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16061117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3422552456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4012377110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2366221837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915136564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256011791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711815336"/>
                    </a:ext>
                  </a:extLst>
                </a:gridCol>
              </a:tblGrid>
              <a:tr h="553235"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6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esterská povolání 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(§ 5 Všeobecná sestra, § 5a Dětská sestra, § 6 Porodní asistentka, § 21b Praktická sestra)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i="0" u="none" strike="noStrike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i="0" u="none" strike="noStrike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614705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tis. obyvatel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úvazků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tis. obyvatel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úvazků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tis. obyvatel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úvazků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tis. obyvatel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úvazků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1881938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  <p:sp>
        <p:nvSpPr>
          <p:cNvPr id="18" name="TextovéPole 17">
            <a:extLst>
              <a:ext uri="{FF2B5EF4-FFF2-40B4-BE49-F238E27FC236}">
                <a16:creationId xmlns:a16="http://schemas.microsoft.com/office/drawing/2014/main" id="{C60E1484-55C4-4B6F-A638-3236D2A6D736}"/>
              </a:ext>
            </a:extLst>
          </p:cNvPr>
          <p:cNvSpPr txBox="1"/>
          <p:nvPr/>
        </p:nvSpPr>
        <p:spPr>
          <a:xfrm>
            <a:off x="2209088" y="5966151"/>
            <a:ext cx="975134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>
                <a:latin typeface="Calibri" panose="020F0502020204030204" pitchFamily="34" charset="0"/>
                <a:cs typeface="Calibri" panose="020F0502020204030204" pitchFamily="34" charset="0"/>
              </a:rPr>
              <a:t>* Úvazky včetně smluvních pracovníků za rok 2019 podle statistických zjišťování MZ za rok 2019, v</a:t>
            </a:r>
            <a:r>
              <a:rPr lang="pt-BR" sz="1200" dirty="0">
                <a:latin typeface="Calibri" panose="020F0502020204030204" pitchFamily="34" charset="0"/>
                <a:cs typeface="Calibri" panose="020F0502020204030204" pitchFamily="34" charset="0"/>
              </a:rPr>
              <a:t>ýkaz</a:t>
            </a:r>
            <a:r>
              <a:rPr lang="cs-CZ" sz="1200" dirty="0">
                <a:latin typeface="Calibri" panose="020F0502020204030204" pitchFamily="34" charset="0"/>
                <a:cs typeface="Calibri" panose="020F0502020204030204" pitchFamily="34" charset="0"/>
              </a:rPr>
              <a:t>y</a:t>
            </a:r>
            <a:r>
              <a:rPr lang="pt-BR" sz="1200" dirty="0">
                <a:latin typeface="Calibri" panose="020F0502020204030204" pitchFamily="34" charset="0"/>
                <a:cs typeface="Calibri" panose="020F0502020204030204" pitchFamily="34" charset="0"/>
              </a:rPr>
              <a:t> E (MZ) 2-01, E (MZ) 3-01 a E (MZ) 4-01</a:t>
            </a:r>
            <a:endParaRPr lang="cs-CZ" sz="1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D38389EE-F8C1-4AAD-BB2B-BF9F71F72F8C}"/>
              </a:ext>
            </a:extLst>
          </p:cNvPr>
          <p:cNvSpPr txBox="1"/>
          <p:nvPr/>
        </p:nvSpPr>
        <p:spPr>
          <a:xfrm>
            <a:off x="4911603" y="6276375"/>
            <a:ext cx="70547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dirty="0"/>
              <a:t>Barevná škála vizualizuje rozsah hodnot v územích v rámci sledovaného ukazatele (sloupce)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1834C1AC-8D63-45D3-ADC1-6A054BF785C6}"/>
              </a:ext>
            </a:extLst>
          </p:cNvPr>
          <p:cNvGrpSpPr/>
          <p:nvPr/>
        </p:nvGrpSpPr>
        <p:grpSpPr>
          <a:xfrm>
            <a:off x="2768481" y="6338662"/>
            <a:ext cx="2143122" cy="171474"/>
            <a:chOff x="2185672" y="6586960"/>
            <a:chExt cx="2143122" cy="171474"/>
          </a:xfrm>
        </p:grpSpPr>
        <p:sp>
          <p:nvSpPr>
            <p:cNvPr id="22" name="TextovéPole 21">
              <a:extLst>
                <a:ext uri="{FF2B5EF4-FFF2-40B4-BE49-F238E27FC236}">
                  <a16:creationId xmlns:a16="http://schemas.microsoft.com/office/drawing/2014/main" id="{9B93F5A1-61AB-4ADF-8174-6F49ABD78FD6}"/>
                </a:ext>
              </a:extLst>
            </p:cNvPr>
            <p:cNvSpPr txBox="1"/>
            <p:nvPr/>
          </p:nvSpPr>
          <p:spPr>
            <a:xfrm>
              <a:off x="2185672" y="6586960"/>
              <a:ext cx="2143122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cs-CZ" sz="1000" dirty="0"/>
                <a:t>min %                                    max %</a:t>
              </a:r>
            </a:p>
          </p:txBody>
        </p:sp>
        <p:pic>
          <p:nvPicPr>
            <p:cNvPr id="24" name="Obrázek 23">
              <a:extLst>
                <a:ext uri="{FF2B5EF4-FFF2-40B4-BE49-F238E27FC236}">
                  <a16:creationId xmlns:a16="http://schemas.microsoft.com/office/drawing/2014/main" id="{A9AA69C9-AA2B-4055-9A8C-660DAE0AD60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653291" y="6586960"/>
              <a:ext cx="1190791" cy="17147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87557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NGAGE" val="{&quot;SavedSwatch&quot;:&quot;-16748873|-10780376|-3468525|-5151986|-9539986|Markido&quot;,&quot;Id&quot;:&quot;60abf0963433422b508f8030&quot;,&quot;SmartGridHorizontal&quot;:0,&quot;LinkedExcelSources&quot;:{},&quot;LinkedProjectSources&quot;:{},&quot;FlowConfig&quot;:{&quot;Canvas&quot;:{&quot;Slide&quot;:-1,&quot;Width&quot;:0,&quot;Height&quot;:0},&quot;Timeline&quot;:{&quot;Actions&quot;:[]}},&quot;LinkedSlideMergeSources&quot;:{},&quot;LinkedSharePointSlideMergeSources&quot;:{}}"/>
  <p:tag name="SLIDEFAB_CUSTOMSORTGLOBALLY" val="True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zentace2" id="{2F500C3B-2BAF-4CA5-849A-B1EC376A25DB}" vid="{C99570C5-ACCF-4382-8246-136F83C28052}"/>
    </a:ext>
  </a:extLst>
</a:theme>
</file>

<file path=ppt/theme/theme2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317</TotalTime>
  <Words>7196</Words>
  <Application>Microsoft Office PowerPoint</Application>
  <PresentationFormat>Širokoúhlá obrazovka</PresentationFormat>
  <Paragraphs>1656</Paragraphs>
  <Slides>20</Slides>
  <Notes>19</Notes>
  <HiddenSlides>0</HiddenSlides>
  <MMClips>0</MMClips>
  <ScaleCrop>false</ScaleCrop>
  <HeadingPairs>
    <vt:vector size="6" baseType="variant">
      <vt:variant>
        <vt:lpstr>Použitá písma</vt:lpstr>
      </vt:variant>
      <vt:variant>
        <vt:i4>2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20</vt:i4>
      </vt:variant>
    </vt:vector>
  </HeadingPairs>
  <TitlesOfParts>
    <vt:vector size="23" baseType="lpstr">
      <vt:lpstr>Calibri</vt:lpstr>
      <vt:lpstr>Arial</vt:lpstr>
      <vt:lpstr>Motiv Office</vt:lpstr>
      <vt:lpstr>Prezentace aplikace PowerPoint</vt:lpstr>
      <vt:lpstr>Očkování zdravotnických pracovníků </vt:lpstr>
      <vt:lpstr>Očkovaní zdravotničtí pracovníci celkem</vt:lpstr>
      <vt:lpstr>Očkování zdravotnických pracovníků – počty očkovaných v čase</vt:lpstr>
      <vt:lpstr>Očkovaní aktivní zdravotničtí pracovníci</vt:lpstr>
      <vt:lpstr>Vakcinace posilující dávkou</vt:lpstr>
      <vt:lpstr>Počty pracovníků ve zdravotnictví s nákazou COVID-19</vt:lpstr>
      <vt:lpstr>Počty pracovníků ve zdravotnictví s nákazou COVID-19</vt:lpstr>
      <vt:lpstr>Počty pracovníků ve zdravotnictví s nákazou COVID-19</vt:lpstr>
      <vt:lpstr>Počty pracovníků ve zdravotnictví (ZP) s nákazou COVID-19</vt:lpstr>
      <vt:lpstr>Očkování zdravotnických pracovníků </vt:lpstr>
      <vt:lpstr>Očkovaní zdravotníci v nemocnicích akutní lůžkové péče a ZZS</vt:lpstr>
      <vt:lpstr>Očkování zdravotnických pracovníků </vt:lpstr>
      <vt:lpstr>Přehled povolání u COVID-19 pozitivních ostatních zdravotnických pracovníků za období 01-10 / 2021 k 7. 10.</vt:lpstr>
      <vt:lpstr>Přehled povolání u COVID-19 pozitivních ostatních zdravotnických pracovníků za období 09-10 / 2021 k 7. 10.</vt:lpstr>
      <vt:lpstr>Očkovaní aktivní zdravotničtí pracovníci</vt:lpstr>
      <vt:lpstr>Očkovaní NLZP v nemocnicích akutní lůžkové péče a ZZS</vt:lpstr>
      <vt:lpstr>Očkovaní lékaři* podle typu zdravotnického zařízení</vt:lpstr>
      <vt:lpstr>Očkované sestry* podle typu zdravotnického zařízení</vt:lpstr>
      <vt:lpstr>Očkovaní ostatní ZP* podle typu zdravotnického zařízení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tiepidemický systém ČR PES</dc:title>
  <dc:creator>Martin Komenda</dc:creator>
  <cp:lastModifiedBy>Dušek Ladislav prof. RNDr. Ph.D.</cp:lastModifiedBy>
  <cp:revision>716</cp:revision>
  <dcterms:created xsi:type="dcterms:W3CDTF">2020-11-11T17:36:28Z</dcterms:created>
  <dcterms:modified xsi:type="dcterms:W3CDTF">2021-10-10T18:58:50Z</dcterms:modified>
</cp:coreProperties>
</file>